
<file path=[Content_Types].xml><?xml version="1.0" encoding="utf-8"?>
<Types xmlns="http://schemas.openxmlformats.org/package/2006/content-types">
  <Default Extension="bin" ContentType="application/vnd.openxmlformats-officedocument.oleObject"/>
  <Default Extension="tmp" ContentType="image/png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7" r:id="rId2"/>
    <p:sldMasterId id="2147483680" r:id="rId3"/>
    <p:sldMasterId id="2147483687" r:id="rId4"/>
    <p:sldMasterId id="2147483694" r:id="rId5"/>
  </p:sldMasterIdLst>
  <p:notesMasterIdLst>
    <p:notesMasterId r:id="rId26"/>
  </p:notesMasterIdLst>
  <p:sldIdLst>
    <p:sldId id="267" r:id="rId6"/>
    <p:sldId id="290" r:id="rId7"/>
    <p:sldId id="275" r:id="rId8"/>
    <p:sldId id="276" r:id="rId9"/>
    <p:sldId id="278" r:id="rId10"/>
    <p:sldId id="289" r:id="rId11"/>
    <p:sldId id="282" r:id="rId12"/>
    <p:sldId id="274" r:id="rId13"/>
    <p:sldId id="277" r:id="rId14"/>
    <p:sldId id="280" r:id="rId15"/>
    <p:sldId id="279" r:id="rId16"/>
    <p:sldId id="262" r:id="rId17"/>
    <p:sldId id="283" r:id="rId18"/>
    <p:sldId id="291" r:id="rId19"/>
    <p:sldId id="285" r:id="rId20"/>
    <p:sldId id="286" r:id="rId21"/>
    <p:sldId id="273" r:id="rId22"/>
    <p:sldId id="292" r:id="rId23"/>
    <p:sldId id="293" r:id="rId24"/>
    <p:sldId id="281" r:id="rId2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>
      <p:cViewPr varScale="1">
        <p:scale>
          <a:sx n="72" d="100"/>
          <a:sy n="72" d="100"/>
        </p:scale>
        <p:origin x="1032" y="6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69E86F-F55E-4BBD-8394-58E955330EB1}" type="datetimeFigureOut">
              <a:rPr lang="en-US" smtClean="0"/>
              <a:t>7/30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6205D5-17E7-4D63-B333-6C2F56CE13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91540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E2B40-B55B-496C-92C0-88F24ED4F35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2725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6E2B40-B55B-496C-92C0-88F24ED4F3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84582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630575-CD41-463D-9C4D-2674BE32834E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0397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630575-CD41-463D-9C4D-2674BE32834E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57122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630575-CD41-463D-9C4D-2674BE32834E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85172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630575-CD41-463D-9C4D-2674BE32834E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31488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630575-CD41-463D-9C4D-2674BE32834E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52447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630575-CD41-463D-9C4D-2674BE32834E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04610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630575-CD41-463D-9C4D-2674BE32834E}" type="slidenum">
              <a:rPr lang="en-US" smtClean="0">
                <a:solidFill>
                  <a:prstClr val="black"/>
                </a:solidFill>
              </a:rPr>
              <a:pPr/>
              <a:t>1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41533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5"/>
          <p:cNvGrpSpPr>
            <a:grpSpLocks/>
          </p:cNvGrpSpPr>
          <p:nvPr/>
        </p:nvGrpSpPr>
        <p:grpSpPr bwMode="auto">
          <a:xfrm>
            <a:off x="457200" y="2362200"/>
            <a:ext cx="817563" cy="838200"/>
            <a:chOff x="18142" y="955"/>
            <a:chExt cx="2084" cy="2140"/>
          </a:xfrm>
        </p:grpSpPr>
        <p:sp>
          <p:nvSpPr>
            <p:cNvPr id="5" name="Rectangle 56"/>
            <p:cNvSpPr>
              <a:spLocks noChangeArrowheads="1"/>
            </p:cNvSpPr>
            <p:nvPr/>
          </p:nvSpPr>
          <p:spPr bwMode="auto">
            <a:xfrm>
              <a:off x="18142" y="955"/>
              <a:ext cx="1870" cy="214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en-US" sz="1600" dirty="0">
                <a:solidFill>
                  <a:srgbClr val="333333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6" name="Freeform 57"/>
            <p:cNvSpPr>
              <a:spLocks/>
            </p:cNvSpPr>
            <p:nvPr/>
          </p:nvSpPr>
          <p:spPr bwMode="auto">
            <a:xfrm>
              <a:off x="19101" y="2390"/>
              <a:ext cx="397" cy="620"/>
            </a:xfrm>
            <a:custGeom>
              <a:avLst/>
              <a:gdLst>
                <a:gd name="T0" fmla="*/ 1 w 790"/>
                <a:gd name="T1" fmla="*/ 1 h 1238"/>
                <a:gd name="T2" fmla="*/ 0 w 790"/>
                <a:gd name="T3" fmla="*/ 1 h 1238"/>
                <a:gd name="T4" fmla="*/ 1 w 790"/>
                <a:gd name="T5" fmla="*/ 1 h 1238"/>
                <a:gd name="T6" fmla="*/ 1 w 790"/>
                <a:gd name="T7" fmla="*/ 1 h 1238"/>
                <a:gd name="T8" fmla="*/ 1 w 790"/>
                <a:gd name="T9" fmla="*/ 1 h 1238"/>
                <a:gd name="T10" fmla="*/ 1 w 790"/>
                <a:gd name="T11" fmla="*/ 1 h 1238"/>
                <a:gd name="T12" fmla="*/ 1 w 790"/>
                <a:gd name="T13" fmla="*/ 1 h 1238"/>
                <a:gd name="T14" fmla="*/ 1 w 790"/>
                <a:gd name="T15" fmla="*/ 1 h 1238"/>
                <a:gd name="T16" fmla="*/ 1 w 790"/>
                <a:gd name="T17" fmla="*/ 1 h 1238"/>
                <a:gd name="T18" fmla="*/ 1 w 790"/>
                <a:gd name="T19" fmla="*/ 1 h 1238"/>
                <a:gd name="T20" fmla="*/ 1 w 790"/>
                <a:gd name="T21" fmla="*/ 1 h 1238"/>
                <a:gd name="T22" fmla="*/ 1 w 790"/>
                <a:gd name="T23" fmla="*/ 1 h 1238"/>
                <a:gd name="T24" fmla="*/ 1 w 790"/>
                <a:gd name="T25" fmla="*/ 1 h 1238"/>
                <a:gd name="T26" fmla="*/ 1 w 790"/>
                <a:gd name="T27" fmla="*/ 1 h 1238"/>
                <a:gd name="T28" fmla="*/ 1 w 790"/>
                <a:gd name="T29" fmla="*/ 0 h 1238"/>
                <a:gd name="T30" fmla="*/ 1 w 790"/>
                <a:gd name="T31" fmla="*/ 1 h 1238"/>
                <a:gd name="T32" fmla="*/ 1 w 790"/>
                <a:gd name="T33" fmla="*/ 1 h 1238"/>
                <a:gd name="T34" fmla="*/ 1 w 790"/>
                <a:gd name="T35" fmla="*/ 1 h 1238"/>
                <a:gd name="T36" fmla="*/ 1 w 790"/>
                <a:gd name="T37" fmla="*/ 1 h 1238"/>
                <a:gd name="T38" fmla="*/ 1 w 790"/>
                <a:gd name="T39" fmla="*/ 1 h 1238"/>
                <a:gd name="T40" fmla="*/ 1 w 790"/>
                <a:gd name="T41" fmla="*/ 1 h 1238"/>
                <a:gd name="T42" fmla="*/ 1 w 790"/>
                <a:gd name="T43" fmla="*/ 1 h 1238"/>
                <a:gd name="T44" fmla="*/ 1 w 790"/>
                <a:gd name="T45" fmla="*/ 1 h 1238"/>
                <a:gd name="T46" fmla="*/ 1 w 790"/>
                <a:gd name="T47" fmla="*/ 1 h 1238"/>
                <a:gd name="T48" fmla="*/ 1 w 790"/>
                <a:gd name="T49" fmla="*/ 1 h 1238"/>
                <a:gd name="T50" fmla="*/ 1 w 790"/>
                <a:gd name="T51" fmla="*/ 1 h 1238"/>
                <a:gd name="T52" fmla="*/ 1 w 790"/>
                <a:gd name="T53" fmla="*/ 1 h 1238"/>
                <a:gd name="T54" fmla="*/ 1 w 790"/>
                <a:gd name="T55" fmla="*/ 1 h 1238"/>
                <a:gd name="T56" fmla="*/ 1 w 790"/>
                <a:gd name="T57" fmla="*/ 1 h 1238"/>
                <a:gd name="T58" fmla="*/ 1 w 790"/>
                <a:gd name="T59" fmla="*/ 1 h 1238"/>
                <a:gd name="T60" fmla="*/ 1 w 790"/>
                <a:gd name="T61" fmla="*/ 1 h 1238"/>
                <a:gd name="T62" fmla="*/ 1 w 790"/>
                <a:gd name="T63" fmla="*/ 1 h 1238"/>
                <a:gd name="T64" fmla="*/ 1 w 790"/>
                <a:gd name="T65" fmla="*/ 1 h 1238"/>
                <a:gd name="T66" fmla="*/ 1 w 790"/>
                <a:gd name="T67" fmla="*/ 1 h 1238"/>
                <a:gd name="T68" fmla="*/ 1 w 790"/>
                <a:gd name="T69" fmla="*/ 1 h 1238"/>
                <a:gd name="T70" fmla="*/ 1 w 790"/>
                <a:gd name="T71" fmla="*/ 1 h 1238"/>
                <a:gd name="T72" fmla="*/ 1 w 790"/>
                <a:gd name="T73" fmla="*/ 1 h 1238"/>
                <a:gd name="T74" fmla="*/ 1 w 790"/>
                <a:gd name="T75" fmla="*/ 1 h 1238"/>
                <a:gd name="T76" fmla="*/ 1 w 790"/>
                <a:gd name="T77" fmla="*/ 1 h 1238"/>
                <a:gd name="T78" fmla="*/ 1 w 790"/>
                <a:gd name="T79" fmla="*/ 1 h 1238"/>
                <a:gd name="T80" fmla="*/ 1 w 790"/>
                <a:gd name="T81" fmla="*/ 1 h 1238"/>
                <a:gd name="T82" fmla="*/ 1 w 790"/>
                <a:gd name="T83" fmla="*/ 1 h 1238"/>
                <a:gd name="T84" fmla="*/ 1 w 790"/>
                <a:gd name="T85" fmla="*/ 1 h 1238"/>
                <a:gd name="T86" fmla="*/ 1 w 790"/>
                <a:gd name="T87" fmla="*/ 1 h 123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790" h="1238">
                  <a:moveTo>
                    <a:pt x="78" y="1113"/>
                  </a:moveTo>
                  <a:lnTo>
                    <a:pt x="31" y="1021"/>
                  </a:lnTo>
                  <a:lnTo>
                    <a:pt x="7" y="937"/>
                  </a:lnTo>
                  <a:lnTo>
                    <a:pt x="0" y="861"/>
                  </a:lnTo>
                  <a:lnTo>
                    <a:pt x="5" y="794"/>
                  </a:lnTo>
                  <a:lnTo>
                    <a:pt x="23" y="737"/>
                  </a:lnTo>
                  <a:lnTo>
                    <a:pt x="44" y="690"/>
                  </a:lnTo>
                  <a:lnTo>
                    <a:pt x="68" y="652"/>
                  </a:lnTo>
                  <a:lnTo>
                    <a:pt x="91" y="624"/>
                  </a:lnTo>
                  <a:lnTo>
                    <a:pt x="106" y="607"/>
                  </a:lnTo>
                  <a:lnTo>
                    <a:pt x="113" y="601"/>
                  </a:lnTo>
                  <a:lnTo>
                    <a:pt x="134" y="581"/>
                  </a:lnTo>
                  <a:lnTo>
                    <a:pt x="174" y="540"/>
                  </a:lnTo>
                  <a:lnTo>
                    <a:pt x="195" y="520"/>
                  </a:lnTo>
                  <a:lnTo>
                    <a:pt x="143" y="426"/>
                  </a:lnTo>
                  <a:lnTo>
                    <a:pt x="115" y="342"/>
                  </a:lnTo>
                  <a:lnTo>
                    <a:pt x="106" y="271"/>
                  </a:lnTo>
                  <a:lnTo>
                    <a:pt x="111" y="208"/>
                  </a:lnTo>
                  <a:lnTo>
                    <a:pt x="129" y="153"/>
                  </a:lnTo>
                  <a:lnTo>
                    <a:pt x="195" y="64"/>
                  </a:lnTo>
                  <a:lnTo>
                    <a:pt x="275" y="19"/>
                  </a:lnTo>
                  <a:lnTo>
                    <a:pt x="311" y="7"/>
                  </a:lnTo>
                  <a:lnTo>
                    <a:pt x="346" y="1"/>
                  </a:lnTo>
                  <a:lnTo>
                    <a:pt x="428" y="0"/>
                  </a:lnTo>
                  <a:lnTo>
                    <a:pt x="529" y="17"/>
                  </a:lnTo>
                  <a:lnTo>
                    <a:pt x="623" y="73"/>
                  </a:lnTo>
                  <a:lnTo>
                    <a:pt x="640" y="88"/>
                  </a:lnTo>
                  <a:lnTo>
                    <a:pt x="673" y="149"/>
                  </a:lnTo>
                  <a:lnTo>
                    <a:pt x="694" y="276"/>
                  </a:lnTo>
                  <a:lnTo>
                    <a:pt x="694" y="297"/>
                  </a:lnTo>
                  <a:lnTo>
                    <a:pt x="694" y="332"/>
                  </a:lnTo>
                  <a:lnTo>
                    <a:pt x="694" y="353"/>
                  </a:lnTo>
                  <a:lnTo>
                    <a:pt x="463" y="353"/>
                  </a:lnTo>
                  <a:lnTo>
                    <a:pt x="463" y="328"/>
                  </a:lnTo>
                  <a:lnTo>
                    <a:pt x="463" y="283"/>
                  </a:lnTo>
                  <a:lnTo>
                    <a:pt x="463" y="260"/>
                  </a:lnTo>
                  <a:lnTo>
                    <a:pt x="444" y="217"/>
                  </a:lnTo>
                  <a:lnTo>
                    <a:pt x="414" y="201"/>
                  </a:lnTo>
                  <a:lnTo>
                    <a:pt x="398" y="198"/>
                  </a:lnTo>
                  <a:lnTo>
                    <a:pt x="355" y="205"/>
                  </a:lnTo>
                  <a:lnTo>
                    <a:pt x="331" y="234"/>
                  </a:lnTo>
                  <a:lnTo>
                    <a:pt x="324" y="274"/>
                  </a:lnTo>
                  <a:lnTo>
                    <a:pt x="322" y="283"/>
                  </a:lnTo>
                  <a:lnTo>
                    <a:pt x="327" y="314"/>
                  </a:lnTo>
                  <a:lnTo>
                    <a:pt x="358" y="374"/>
                  </a:lnTo>
                  <a:lnTo>
                    <a:pt x="400" y="438"/>
                  </a:lnTo>
                  <a:lnTo>
                    <a:pt x="458" y="521"/>
                  </a:lnTo>
                  <a:lnTo>
                    <a:pt x="518" y="607"/>
                  </a:lnTo>
                  <a:lnTo>
                    <a:pt x="565" y="671"/>
                  </a:lnTo>
                  <a:lnTo>
                    <a:pt x="584" y="697"/>
                  </a:lnTo>
                  <a:lnTo>
                    <a:pt x="584" y="534"/>
                  </a:lnTo>
                  <a:lnTo>
                    <a:pt x="786" y="534"/>
                  </a:lnTo>
                  <a:lnTo>
                    <a:pt x="786" y="554"/>
                  </a:lnTo>
                  <a:lnTo>
                    <a:pt x="786" y="608"/>
                  </a:lnTo>
                  <a:lnTo>
                    <a:pt x="786" y="690"/>
                  </a:lnTo>
                  <a:lnTo>
                    <a:pt x="786" y="786"/>
                  </a:lnTo>
                  <a:lnTo>
                    <a:pt x="786" y="890"/>
                  </a:lnTo>
                  <a:lnTo>
                    <a:pt x="786" y="991"/>
                  </a:lnTo>
                  <a:lnTo>
                    <a:pt x="786" y="1080"/>
                  </a:lnTo>
                  <a:lnTo>
                    <a:pt x="788" y="1148"/>
                  </a:lnTo>
                  <a:lnTo>
                    <a:pt x="788" y="1184"/>
                  </a:lnTo>
                  <a:lnTo>
                    <a:pt x="790" y="1201"/>
                  </a:lnTo>
                  <a:lnTo>
                    <a:pt x="776" y="1229"/>
                  </a:lnTo>
                  <a:lnTo>
                    <a:pt x="722" y="1238"/>
                  </a:lnTo>
                  <a:lnTo>
                    <a:pt x="666" y="1238"/>
                  </a:lnTo>
                  <a:lnTo>
                    <a:pt x="544" y="1238"/>
                  </a:lnTo>
                  <a:lnTo>
                    <a:pt x="423" y="1238"/>
                  </a:lnTo>
                  <a:lnTo>
                    <a:pt x="369" y="1238"/>
                  </a:lnTo>
                  <a:lnTo>
                    <a:pt x="78" y="1113"/>
                  </a:lnTo>
                  <a:close/>
                </a:path>
              </a:pathLst>
            </a:custGeom>
            <a:solidFill>
              <a:srgbClr val="FFA9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7" name="Freeform 58"/>
            <p:cNvSpPr>
              <a:spLocks/>
            </p:cNvSpPr>
            <p:nvPr/>
          </p:nvSpPr>
          <p:spPr bwMode="auto">
            <a:xfrm>
              <a:off x="19222" y="2738"/>
              <a:ext cx="166" cy="170"/>
            </a:xfrm>
            <a:custGeom>
              <a:avLst/>
              <a:gdLst>
                <a:gd name="T0" fmla="*/ 0 w 336"/>
                <a:gd name="T1" fmla="*/ 0 h 343"/>
                <a:gd name="T2" fmla="*/ 0 w 336"/>
                <a:gd name="T3" fmla="*/ 0 h 343"/>
                <a:gd name="T4" fmla="*/ 0 w 336"/>
                <a:gd name="T5" fmla="*/ 0 h 343"/>
                <a:gd name="T6" fmla="*/ 0 w 336"/>
                <a:gd name="T7" fmla="*/ 0 h 343"/>
                <a:gd name="T8" fmla="*/ 0 w 336"/>
                <a:gd name="T9" fmla="*/ 0 h 343"/>
                <a:gd name="T10" fmla="*/ 0 w 336"/>
                <a:gd name="T11" fmla="*/ 0 h 343"/>
                <a:gd name="T12" fmla="*/ 0 w 336"/>
                <a:gd name="T13" fmla="*/ 0 h 343"/>
                <a:gd name="T14" fmla="*/ 0 w 336"/>
                <a:gd name="T15" fmla="*/ 0 h 343"/>
                <a:gd name="T16" fmla="*/ 0 w 336"/>
                <a:gd name="T17" fmla="*/ 0 h 343"/>
                <a:gd name="T18" fmla="*/ 0 w 336"/>
                <a:gd name="T19" fmla="*/ 0 h 343"/>
                <a:gd name="T20" fmla="*/ 0 w 336"/>
                <a:gd name="T21" fmla="*/ 0 h 343"/>
                <a:gd name="T22" fmla="*/ 0 w 336"/>
                <a:gd name="T23" fmla="*/ 0 h 343"/>
                <a:gd name="T24" fmla="*/ 0 w 336"/>
                <a:gd name="T25" fmla="*/ 0 h 343"/>
                <a:gd name="T26" fmla="*/ 0 w 336"/>
                <a:gd name="T27" fmla="*/ 0 h 343"/>
                <a:gd name="T28" fmla="*/ 0 w 336"/>
                <a:gd name="T29" fmla="*/ 0 h 343"/>
                <a:gd name="T30" fmla="*/ 0 w 336"/>
                <a:gd name="T31" fmla="*/ 0 h 343"/>
                <a:gd name="T32" fmla="*/ 0 w 336"/>
                <a:gd name="T33" fmla="*/ 0 h 343"/>
                <a:gd name="T34" fmla="*/ 0 w 336"/>
                <a:gd name="T35" fmla="*/ 0 h 343"/>
                <a:gd name="T36" fmla="*/ 0 w 336"/>
                <a:gd name="T37" fmla="*/ 0 h 343"/>
                <a:gd name="T38" fmla="*/ 0 w 336"/>
                <a:gd name="T39" fmla="*/ 0 h 343"/>
                <a:gd name="T40" fmla="*/ 0 w 336"/>
                <a:gd name="T41" fmla="*/ 0 h 343"/>
                <a:gd name="T42" fmla="*/ 0 w 336"/>
                <a:gd name="T43" fmla="*/ 0 h 34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336" h="343">
                  <a:moveTo>
                    <a:pt x="333" y="343"/>
                  </a:moveTo>
                  <a:lnTo>
                    <a:pt x="336" y="325"/>
                  </a:lnTo>
                  <a:lnTo>
                    <a:pt x="308" y="292"/>
                  </a:lnTo>
                  <a:lnTo>
                    <a:pt x="239" y="211"/>
                  </a:lnTo>
                  <a:lnTo>
                    <a:pt x="157" y="115"/>
                  </a:lnTo>
                  <a:lnTo>
                    <a:pt x="89" y="35"/>
                  </a:lnTo>
                  <a:lnTo>
                    <a:pt x="60" y="0"/>
                  </a:lnTo>
                  <a:lnTo>
                    <a:pt x="30" y="37"/>
                  </a:lnTo>
                  <a:lnTo>
                    <a:pt x="4" y="104"/>
                  </a:lnTo>
                  <a:lnTo>
                    <a:pt x="0" y="191"/>
                  </a:lnTo>
                  <a:lnTo>
                    <a:pt x="39" y="285"/>
                  </a:lnTo>
                  <a:lnTo>
                    <a:pt x="60" y="303"/>
                  </a:lnTo>
                  <a:lnTo>
                    <a:pt x="119" y="332"/>
                  </a:lnTo>
                  <a:lnTo>
                    <a:pt x="211" y="343"/>
                  </a:lnTo>
                  <a:lnTo>
                    <a:pt x="242" y="343"/>
                  </a:lnTo>
                  <a:lnTo>
                    <a:pt x="301" y="343"/>
                  </a:lnTo>
                  <a:lnTo>
                    <a:pt x="333" y="34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59"/>
            <p:cNvSpPr>
              <a:spLocks/>
            </p:cNvSpPr>
            <p:nvPr/>
          </p:nvSpPr>
          <p:spPr bwMode="auto">
            <a:xfrm>
              <a:off x="19538" y="1036"/>
              <a:ext cx="393" cy="1982"/>
            </a:xfrm>
            <a:custGeom>
              <a:avLst/>
              <a:gdLst>
                <a:gd name="T0" fmla="*/ 0 w 785"/>
                <a:gd name="T1" fmla="*/ 0 h 3959"/>
                <a:gd name="T2" fmla="*/ 0 w 785"/>
                <a:gd name="T3" fmla="*/ 1 h 3959"/>
                <a:gd name="T4" fmla="*/ 1 w 785"/>
                <a:gd name="T5" fmla="*/ 1 h 3959"/>
                <a:gd name="T6" fmla="*/ 1 w 785"/>
                <a:gd name="T7" fmla="*/ 1 h 3959"/>
                <a:gd name="T8" fmla="*/ 1 w 785"/>
                <a:gd name="T9" fmla="*/ 1 h 3959"/>
                <a:gd name="T10" fmla="*/ 1 w 785"/>
                <a:gd name="T11" fmla="*/ 1 h 3959"/>
                <a:gd name="T12" fmla="*/ 1 w 785"/>
                <a:gd name="T13" fmla="*/ 1 h 3959"/>
                <a:gd name="T14" fmla="*/ 1 w 785"/>
                <a:gd name="T15" fmla="*/ 1 h 3959"/>
                <a:gd name="T16" fmla="*/ 1 w 785"/>
                <a:gd name="T17" fmla="*/ 1 h 3959"/>
                <a:gd name="T18" fmla="*/ 1 w 785"/>
                <a:gd name="T19" fmla="*/ 1 h 3959"/>
                <a:gd name="T20" fmla="*/ 1 w 785"/>
                <a:gd name="T21" fmla="*/ 1 h 3959"/>
                <a:gd name="T22" fmla="*/ 1 w 785"/>
                <a:gd name="T23" fmla="*/ 1 h 3959"/>
                <a:gd name="T24" fmla="*/ 1 w 785"/>
                <a:gd name="T25" fmla="*/ 1 h 3959"/>
                <a:gd name="T26" fmla="*/ 1 w 785"/>
                <a:gd name="T27" fmla="*/ 1 h 3959"/>
                <a:gd name="T28" fmla="*/ 1 w 785"/>
                <a:gd name="T29" fmla="*/ 1 h 3959"/>
                <a:gd name="T30" fmla="*/ 1 w 785"/>
                <a:gd name="T31" fmla="*/ 0 h 3959"/>
                <a:gd name="T32" fmla="*/ 0 w 785"/>
                <a:gd name="T33" fmla="*/ 0 h 39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785" h="3959">
                  <a:moveTo>
                    <a:pt x="0" y="0"/>
                  </a:moveTo>
                  <a:lnTo>
                    <a:pt x="0" y="3959"/>
                  </a:lnTo>
                  <a:lnTo>
                    <a:pt x="49" y="3959"/>
                  </a:lnTo>
                  <a:lnTo>
                    <a:pt x="49" y="2454"/>
                  </a:lnTo>
                  <a:lnTo>
                    <a:pt x="696" y="2454"/>
                  </a:lnTo>
                  <a:lnTo>
                    <a:pt x="696" y="2720"/>
                  </a:lnTo>
                  <a:lnTo>
                    <a:pt x="369" y="2720"/>
                  </a:lnTo>
                  <a:lnTo>
                    <a:pt x="369" y="3056"/>
                  </a:lnTo>
                  <a:lnTo>
                    <a:pt x="696" y="3056"/>
                  </a:lnTo>
                  <a:lnTo>
                    <a:pt x="696" y="3322"/>
                  </a:lnTo>
                  <a:lnTo>
                    <a:pt x="369" y="3322"/>
                  </a:lnTo>
                  <a:lnTo>
                    <a:pt x="369" y="3684"/>
                  </a:lnTo>
                  <a:lnTo>
                    <a:pt x="696" y="3684"/>
                  </a:lnTo>
                  <a:lnTo>
                    <a:pt x="696" y="3945"/>
                  </a:lnTo>
                  <a:lnTo>
                    <a:pt x="785" y="3945"/>
                  </a:lnTo>
                  <a:lnTo>
                    <a:pt x="78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9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0"/>
            <p:cNvSpPr>
              <a:spLocks/>
            </p:cNvSpPr>
            <p:nvPr/>
          </p:nvSpPr>
          <p:spPr bwMode="auto">
            <a:xfrm>
              <a:off x="18421" y="2398"/>
              <a:ext cx="77" cy="219"/>
            </a:xfrm>
            <a:custGeom>
              <a:avLst/>
              <a:gdLst>
                <a:gd name="T0" fmla="*/ 0 w 152"/>
                <a:gd name="T1" fmla="*/ 0 h 435"/>
                <a:gd name="T2" fmla="*/ 0 w 152"/>
                <a:gd name="T3" fmla="*/ 1 h 435"/>
                <a:gd name="T4" fmla="*/ 0 w 152"/>
                <a:gd name="T5" fmla="*/ 1 h 435"/>
                <a:gd name="T6" fmla="*/ 0 w 152"/>
                <a:gd name="T7" fmla="*/ 1 h 435"/>
                <a:gd name="T8" fmla="*/ 0 w 152"/>
                <a:gd name="T9" fmla="*/ 1 h 435"/>
                <a:gd name="T10" fmla="*/ 0 w 152"/>
                <a:gd name="T11" fmla="*/ 1 h 435"/>
                <a:gd name="T12" fmla="*/ 0 w 152"/>
                <a:gd name="T13" fmla="*/ 1 h 435"/>
                <a:gd name="T14" fmla="*/ 0 w 152"/>
                <a:gd name="T15" fmla="*/ 1 h 435"/>
                <a:gd name="T16" fmla="*/ 1 w 152"/>
                <a:gd name="T17" fmla="*/ 1 h 435"/>
                <a:gd name="T18" fmla="*/ 1 w 152"/>
                <a:gd name="T19" fmla="*/ 1 h 435"/>
                <a:gd name="T20" fmla="*/ 1 w 152"/>
                <a:gd name="T21" fmla="*/ 1 h 435"/>
                <a:gd name="T22" fmla="*/ 1 w 152"/>
                <a:gd name="T23" fmla="*/ 1 h 435"/>
                <a:gd name="T24" fmla="*/ 1 w 152"/>
                <a:gd name="T25" fmla="*/ 1 h 435"/>
                <a:gd name="T26" fmla="*/ 1 w 152"/>
                <a:gd name="T27" fmla="*/ 1 h 435"/>
                <a:gd name="T28" fmla="*/ 1 w 152"/>
                <a:gd name="T29" fmla="*/ 1 h 435"/>
                <a:gd name="T30" fmla="*/ 1 w 152"/>
                <a:gd name="T31" fmla="*/ 1 h 435"/>
                <a:gd name="T32" fmla="*/ 1 w 152"/>
                <a:gd name="T33" fmla="*/ 1 h 435"/>
                <a:gd name="T34" fmla="*/ 1 w 152"/>
                <a:gd name="T35" fmla="*/ 1 h 435"/>
                <a:gd name="T36" fmla="*/ 0 w 152"/>
                <a:gd name="T37" fmla="*/ 0 h 435"/>
                <a:gd name="T38" fmla="*/ 0 w 152"/>
                <a:gd name="T39" fmla="*/ 0 h 43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2" h="435">
                  <a:moveTo>
                    <a:pt x="0" y="0"/>
                  </a:moveTo>
                  <a:lnTo>
                    <a:pt x="0" y="34"/>
                  </a:lnTo>
                  <a:lnTo>
                    <a:pt x="0" y="114"/>
                  </a:lnTo>
                  <a:lnTo>
                    <a:pt x="0" y="218"/>
                  </a:lnTo>
                  <a:lnTo>
                    <a:pt x="0" y="322"/>
                  </a:lnTo>
                  <a:lnTo>
                    <a:pt x="0" y="402"/>
                  </a:lnTo>
                  <a:lnTo>
                    <a:pt x="0" y="435"/>
                  </a:lnTo>
                  <a:lnTo>
                    <a:pt x="75" y="423"/>
                  </a:lnTo>
                  <a:lnTo>
                    <a:pt x="124" y="371"/>
                  </a:lnTo>
                  <a:lnTo>
                    <a:pt x="146" y="298"/>
                  </a:lnTo>
                  <a:lnTo>
                    <a:pt x="152" y="221"/>
                  </a:lnTo>
                  <a:lnTo>
                    <a:pt x="150" y="157"/>
                  </a:lnTo>
                  <a:lnTo>
                    <a:pt x="143" y="110"/>
                  </a:lnTo>
                  <a:lnTo>
                    <a:pt x="126" y="63"/>
                  </a:lnTo>
                  <a:lnTo>
                    <a:pt x="80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9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1"/>
            <p:cNvSpPr>
              <a:spLocks/>
            </p:cNvSpPr>
            <p:nvPr/>
          </p:nvSpPr>
          <p:spPr bwMode="auto">
            <a:xfrm>
              <a:off x="18223" y="1036"/>
              <a:ext cx="1307" cy="1982"/>
            </a:xfrm>
            <a:custGeom>
              <a:avLst/>
              <a:gdLst>
                <a:gd name="T0" fmla="*/ 0 w 2616"/>
                <a:gd name="T1" fmla="*/ 0 h 3962"/>
                <a:gd name="T2" fmla="*/ 0 w 2616"/>
                <a:gd name="T3" fmla="*/ 1 h 3962"/>
                <a:gd name="T4" fmla="*/ 0 w 2616"/>
                <a:gd name="T5" fmla="*/ 1 h 3962"/>
                <a:gd name="T6" fmla="*/ 0 w 2616"/>
                <a:gd name="T7" fmla="*/ 1 h 3962"/>
                <a:gd name="T8" fmla="*/ 0 w 2616"/>
                <a:gd name="T9" fmla="*/ 1 h 3962"/>
                <a:gd name="T10" fmla="*/ 0 w 2616"/>
                <a:gd name="T11" fmla="*/ 1 h 3962"/>
                <a:gd name="T12" fmla="*/ 0 w 2616"/>
                <a:gd name="T13" fmla="*/ 1 h 3962"/>
                <a:gd name="T14" fmla="*/ 0 w 2616"/>
                <a:gd name="T15" fmla="*/ 1 h 3962"/>
                <a:gd name="T16" fmla="*/ 0 w 2616"/>
                <a:gd name="T17" fmla="*/ 1 h 3962"/>
                <a:gd name="T18" fmla="*/ 0 w 2616"/>
                <a:gd name="T19" fmla="*/ 1 h 3962"/>
                <a:gd name="T20" fmla="*/ 0 w 2616"/>
                <a:gd name="T21" fmla="*/ 1 h 3962"/>
                <a:gd name="T22" fmla="*/ 0 w 2616"/>
                <a:gd name="T23" fmla="*/ 1 h 3962"/>
                <a:gd name="T24" fmla="*/ 0 w 2616"/>
                <a:gd name="T25" fmla="*/ 1 h 3962"/>
                <a:gd name="T26" fmla="*/ 0 w 2616"/>
                <a:gd name="T27" fmla="*/ 1 h 3962"/>
                <a:gd name="T28" fmla="*/ 0 w 2616"/>
                <a:gd name="T29" fmla="*/ 1 h 3962"/>
                <a:gd name="T30" fmla="*/ 0 w 2616"/>
                <a:gd name="T31" fmla="*/ 1 h 3962"/>
                <a:gd name="T32" fmla="*/ 0 w 2616"/>
                <a:gd name="T33" fmla="*/ 1 h 3962"/>
                <a:gd name="T34" fmla="*/ 0 w 2616"/>
                <a:gd name="T35" fmla="*/ 1 h 3962"/>
                <a:gd name="T36" fmla="*/ 0 w 2616"/>
                <a:gd name="T37" fmla="*/ 1 h 3962"/>
                <a:gd name="T38" fmla="*/ 0 w 2616"/>
                <a:gd name="T39" fmla="*/ 1 h 3962"/>
                <a:gd name="T40" fmla="*/ 0 w 2616"/>
                <a:gd name="T41" fmla="*/ 1 h 3962"/>
                <a:gd name="T42" fmla="*/ 0 w 2616"/>
                <a:gd name="T43" fmla="*/ 1 h 3962"/>
                <a:gd name="T44" fmla="*/ 0 w 2616"/>
                <a:gd name="T45" fmla="*/ 1 h 3962"/>
                <a:gd name="T46" fmla="*/ 0 w 2616"/>
                <a:gd name="T47" fmla="*/ 1 h 3962"/>
                <a:gd name="T48" fmla="*/ 0 w 2616"/>
                <a:gd name="T49" fmla="*/ 1 h 3962"/>
                <a:gd name="T50" fmla="*/ 0 w 2616"/>
                <a:gd name="T51" fmla="*/ 1 h 3962"/>
                <a:gd name="T52" fmla="*/ 0 w 2616"/>
                <a:gd name="T53" fmla="*/ 1 h 3962"/>
                <a:gd name="T54" fmla="*/ 0 w 2616"/>
                <a:gd name="T55" fmla="*/ 1 h 3962"/>
                <a:gd name="T56" fmla="*/ 0 w 2616"/>
                <a:gd name="T57" fmla="*/ 1 h 3962"/>
                <a:gd name="T58" fmla="*/ 0 w 2616"/>
                <a:gd name="T59" fmla="*/ 1 h 3962"/>
                <a:gd name="T60" fmla="*/ 0 w 2616"/>
                <a:gd name="T61" fmla="*/ 1 h 3962"/>
                <a:gd name="T62" fmla="*/ 0 w 2616"/>
                <a:gd name="T63" fmla="*/ 1 h 3962"/>
                <a:gd name="T64" fmla="*/ 0 w 2616"/>
                <a:gd name="T65" fmla="*/ 1 h 3962"/>
                <a:gd name="T66" fmla="*/ 0 w 2616"/>
                <a:gd name="T67" fmla="*/ 1 h 3962"/>
                <a:gd name="T68" fmla="*/ 0 w 2616"/>
                <a:gd name="T69" fmla="*/ 1 h 3962"/>
                <a:gd name="T70" fmla="*/ 0 w 2616"/>
                <a:gd name="T71" fmla="*/ 1 h 3962"/>
                <a:gd name="T72" fmla="*/ 0 w 2616"/>
                <a:gd name="T73" fmla="*/ 1 h 3962"/>
                <a:gd name="T74" fmla="*/ 0 w 2616"/>
                <a:gd name="T75" fmla="*/ 1 h 3962"/>
                <a:gd name="T76" fmla="*/ 0 w 2616"/>
                <a:gd name="T77" fmla="*/ 1 h 3962"/>
                <a:gd name="T78" fmla="*/ 0 w 2616"/>
                <a:gd name="T79" fmla="*/ 1 h 3962"/>
                <a:gd name="T80" fmla="*/ 0 w 2616"/>
                <a:gd name="T81" fmla="*/ 1 h 3962"/>
                <a:gd name="T82" fmla="*/ 0 w 2616"/>
                <a:gd name="T83" fmla="*/ 1 h 3962"/>
                <a:gd name="T84" fmla="*/ 0 w 2616"/>
                <a:gd name="T85" fmla="*/ 1 h 396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616" h="3962">
                  <a:moveTo>
                    <a:pt x="1638" y="3482"/>
                  </a:moveTo>
                  <a:lnTo>
                    <a:pt x="2616" y="0"/>
                  </a:lnTo>
                  <a:lnTo>
                    <a:pt x="3" y="0"/>
                  </a:lnTo>
                  <a:lnTo>
                    <a:pt x="0" y="3962"/>
                  </a:lnTo>
                  <a:lnTo>
                    <a:pt x="96" y="3962"/>
                  </a:lnTo>
                  <a:lnTo>
                    <a:pt x="96" y="2447"/>
                  </a:lnTo>
                  <a:lnTo>
                    <a:pt x="405" y="2447"/>
                  </a:lnTo>
                  <a:lnTo>
                    <a:pt x="421" y="2447"/>
                  </a:lnTo>
                  <a:lnTo>
                    <a:pt x="466" y="2449"/>
                  </a:lnTo>
                  <a:lnTo>
                    <a:pt x="529" y="2458"/>
                  </a:lnTo>
                  <a:lnTo>
                    <a:pt x="602" y="2477"/>
                  </a:lnTo>
                  <a:lnTo>
                    <a:pt x="678" y="2513"/>
                  </a:lnTo>
                  <a:lnTo>
                    <a:pt x="748" y="2573"/>
                  </a:lnTo>
                  <a:lnTo>
                    <a:pt x="804" y="2656"/>
                  </a:lnTo>
                  <a:lnTo>
                    <a:pt x="828" y="2719"/>
                  </a:lnTo>
                  <a:lnTo>
                    <a:pt x="842" y="2790"/>
                  </a:lnTo>
                  <a:lnTo>
                    <a:pt x="850" y="2898"/>
                  </a:lnTo>
                  <a:lnTo>
                    <a:pt x="850" y="3002"/>
                  </a:lnTo>
                  <a:lnTo>
                    <a:pt x="842" y="3098"/>
                  </a:lnTo>
                  <a:lnTo>
                    <a:pt x="828" y="3171"/>
                  </a:lnTo>
                  <a:lnTo>
                    <a:pt x="817" y="3206"/>
                  </a:lnTo>
                  <a:lnTo>
                    <a:pt x="805" y="3228"/>
                  </a:lnTo>
                  <a:lnTo>
                    <a:pt x="779" y="3270"/>
                  </a:lnTo>
                  <a:lnTo>
                    <a:pt x="736" y="3322"/>
                  </a:lnTo>
                  <a:lnTo>
                    <a:pt x="675" y="3373"/>
                  </a:lnTo>
                  <a:lnTo>
                    <a:pt x="597" y="3408"/>
                  </a:lnTo>
                  <a:lnTo>
                    <a:pt x="496" y="3418"/>
                  </a:lnTo>
                  <a:lnTo>
                    <a:pt x="470" y="3418"/>
                  </a:lnTo>
                  <a:lnTo>
                    <a:pt x="421" y="3416"/>
                  </a:lnTo>
                  <a:lnTo>
                    <a:pt x="395" y="3414"/>
                  </a:lnTo>
                  <a:lnTo>
                    <a:pt x="395" y="3948"/>
                  </a:lnTo>
                  <a:lnTo>
                    <a:pt x="1117" y="3948"/>
                  </a:lnTo>
                  <a:lnTo>
                    <a:pt x="1104" y="3945"/>
                  </a:lnTo>
                  <a:lnTo>
                    <a:pt x="1073" y="3931"/>
                  </a:lnTo>
                  <a:lnTo>
                    <a:pt x="1031" y="3907"/>
                  </a:lnTo>
                  <a:lnTo>
                    <a:pt x="984" y="3867"/>
                  </a:lnTo>
                  <a:lnTo>
                    <a:pt x="943" y="3808"/>
                  </a:lnTo>
                  <a:lnTo>
                    <a:pt x="911" y="3728"/>
                  </a:lnTo>
                  <a:lnTo>
                    <a:pt x="899" y="3623"/>
                  </a:lnTo>
                  <a:lnTo>
                    <a:pt x="899" y="3609"/>
                  </a:lnTo>
                  <a:lnTo>
                    <a:pt x="899" y="3569"/>
                  </a:lnTo>
                  <a:lnTo>
                    <a:pt x="899" y="3507"/>
                  </a:lnTo>
                  <a:lnTo>
                    <a:pt x="899" y="3428"/>
                  </a:lnTo>
                  <a:lnTo>
                    <a:pt x="899" y="3340"/>
                  </a:lnTo>
                  <a:lnTo>
                    <a:pt x="899" y="3242"/>
                  </a:lnTo>
                  <a:lnTo>
                    <a:pt x="899" y="3143"/>
                  </a:lnTo>
                  <a:lnTo>
                    <a:pt x="899" y="3046"/>
                  </a:lnTo>
                  <a:lnTo>
                    <a:pt x="899" y="2957"/>
                  </a:lnTo>
                  <a:lnTo>
                    <a:pt x="899" y="2879"/>
                  </a:lnTo>
                  <a:lnTo>
                    <a:pt x="899" y="2816"/>
                  </a:lnTo>
                  <a:lnTo>
                    <a:pt x="899" y="2776"/>
                  </a:lnTo>
                  <a:lnTo>
                    <a:pt x="899" y="2762"/>
                  </a:lnTo>
                  <a:lnTo>
                    <a:pt x="897" y="2747"/>
                  </a:lnTo>
                  <a:lnTo>
                    <a:pt x="899" y="2708"/>
                  </a:lnTo>
                  <a:lnTo>
                    <a:pt x="908" y="2654"/>
                  </a:lnTo>
                  <a:lnTo>
                    <a:pt x="929" y="2593"/>
                  </a:lnTo>
                  <a:lnTo>
                    <a:pt x="969" y="2531"/>
                  </a:lnTo>
                  <a:lnTo>
                    <a:pt x="1033" y="2477"/>
                  </a:lnTo>
                  <a:lnTo>
                    <a:pt x="1127" y="2440"/>
                  </a:lnTo>
                  <a:lnTo>
                    <a:pt x="1139" y="2437"/>
                  </a:lnTo>
                  <a:lnTo>
                    <a:pt x="1172" y="2428"/>
                  </a:lnTo>
                  <a:lnTo>
                    <a:pt x="1223" y="2421"/>
                  </a:lnTo>
                  <a:lnTo>
                    <a:pt x="1285" y="2418"/>
                  </a:lnTo>
                  <a:lnTo>
                    <a:pt x="1355" y="2425"/>
                  </a:lnTo>
                  <a:lnTo>
                    <a:pt x="1426" y="2446"/>
                  </a:lnTo>
                  <a:lnTo>
                    <a:pt x="1494" y="2486"/>
                  </a:lnTo>
                  <a:lnTo>
                    <a:pt x="1557" y="2550"/>
                  </a:lnTo>
                  <a:lnTo>
                    <a:pt x="1565" y="2559"/>
                  </a:lnTo>
                  <a:lnTo>
                    <a:pt x="1588" y="2592"/>
                  </a:lnTo>
                  <a:lnTo>
                    <a:pt x="1612" y="2654"/>
                  </a:lnTo>
                  <a:lnTo>
                    <a:pt x="1628" y="2755"/>
                  </a:lnTo>
                  <a:lnTo>
                    <a:pt x="1624" y="2898"/>
                  </a:lnTo>
                  <a:lnTo>
                    <a:pt x="1550" y="2898"/>
                  </a:lnTo>
                  <a:lnTo>
                    <a:pt x="1411" y="2896"/>
                  </a:lnTo>
                  <a:lnTo>
                    <a:pt x="1334" y="2894"/>
                  </a:lnTo>
                  <a:lnTo>
                    <a:pt x="1334" y="2755"/>
                  </a:lnTo>
                  <a:lnTo>
                    <a:pt x="1331" y="2738"/>
                  </a:lnTo>
                  <a:lnTo>
                    <a:pt x="1311" y="2705"/>
                  </a:lnTo>
                  <a:lnTo>
                    <a:pt x="1266" y="2687"/>
                  </a:lnTo>
                  <a:lnTo>
                    <a:pt x="1221" y="2701"/>
                  </a:lnTo>
                  <a:lnTo>
                    <a:pt x="1204" y="2733"/>
                  </a:lnTo>
                  <a:lnTo>
                    <a:pt x="1200" y="2776"/>
                  </a:lnTo>
                  <a:lnTo>
                    <a:pt x="1200" y="2792"/>
                  </a:lnTo>
                  <a:lnTo>
                    <a:pt x="1200" y="2839"/>
                  </a:lnTo>
                  <a:lnTo>
                    <a:pt x="1200" y="2908"/>
                  </a:lnTo>
                  <a:lnTo>
                    <a:pt x="1200" y="2997"/>
                  </a:lnTo>
                  <a:lnTo>
                    <a:pt x="1200" y="3096"/>
                  </a:lnTo>
                  <a:lnTo>
                    <a:pt x="1200" y="3202"/>
                  </a:lnTo>
                  <a:lnTo>
                    <a:pt x="1200" y="3308"/>
                  </a:lnTo>
                  <a:lnTo>
                    <a:pt x="1200" y="3409"/>
                  </a:lnTo>
                  <a:lnTo>
                    <a:pt x="1200" y="3496"/>
                  </a:lnTo>
                  <a:lnTo>
                    <a:pt x="1200" y="3568"/>
                  </a:lnTo>
                  <a:lnTo>
                    <a:pt x="1200" y="3613"/>
                  </a:lnTo>
                  <a:lnTo>
                    <a:pt x="1200" y="3630"/>
                  </a:lnTo>
                  <a:lnTo>
                    <a:pt x="1202" y="3649"/>
                  </a:lnTo>
                  <a:lnTo>
                    <a:pt x="1216" y="3688"/>
                  </a:lnTo>
                  <a:lnTo>
                    <a:pt x="1263" y="3717"/>
                  </a:lnTo>
                  <a:lnTo>
                    <a:pt x="1303" y="3714"/>
                  </a:lnTo>
                  <a:lnTo>
                    <a:pt x="1336" y="3688"/>
                  </a:lnTo>
                  <a:lnTo>
                    <a:pt x="1350" y="3642"/>
                  </a:lnTo>
                  <a:lnTo>
                    <a:pt x="1350" y="3576"/>
                  </a:lnTo>
                  <a:lnTo>
                    <a:pt x="1350" y="3456"/>
                  </a:lnTo>
                  <a:lnTo>
                    <a:pt x="1350" y="3390"/>
                  </a:lnTo>
                  <a:lnTo>
                    <a:pt x="1268" y="3390"/>
                  </a:lnTo>
                  <a:lnTo>
                    <a:pt x="1268" y="3127"/>
                  </a:lnTo>
                  <a:lnTo>
                    <a:pt x="1638" y="3127"/>
                  </a:lnTo>
                  <a:lnTo>
                    <a:pt x="1638" y="3482"/>
                  </a:lnTo>
                  <a:lnTo>
                    <a:pt x="1649" y="3482"/>
                  </a:lnTo>
                  <a:lnTo>
                    <a:pt x="1638" y="3482"/>
                  </a:lnTo>
                  <a:close/>
                </a:path>
              </a:pathLst>
            </a:custGeom>
            <a:solidFill>
              <a:srgbClr val="0079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1" name="Freeform 62"/>
            <p:cNvSpPr>
              <a:spLocks noEditPoints="1"/>
            </p:cNvSpPr>
            <p:nvPr/>
          </p:nvSpPr>
          <p:spPr bwMode="auto">
            <a:xfrm>
              <a:off x="19995" y="1044"/>
              <a:ext cx="231" cy="231"/>
            </a:xfrm>
            <a:custGeom>
              <a:avLst/>
              <a:gdLst>
                <a:gd name="T0" fmla="*/ 1 w 461"/>
                <a:gd name="T1" fmla="*/ 1 h 460"/>
                <a:gd name="T2" fmla="*/ 1 w 461"/>
                <a:gd name="T3" fmla="*/ 1 h 460"/>
                <a:gd name="T4" fmla="*/ 1 w 461"/>
                <a:gd name="T5" fmla="*/ 1 h 460"/>
                <a:gd name="T6" fmla="*/ 1 w 461"/>
                <a:gd name="T7" fmla="*/ 1 h 460"/>
                <a:gd name="T8" fmla="*/ 1 w 461"/>
                <a:gd name="T9" fmla="*/ 1 h 460"/>
                <a:gd name="T10" fmla="*/ 1 w 461"/>
                <a:gd name="T11" fmla="*/ 1 h 460"/>
                <a:gd name="T12" fmla="*/ 1 w 461"/>
                <a:gd name="T13" fmla="*/ 1 h 460"/>
                <a:gd name="T14" fmla="*/ 1 w 461"/>
                <a:gd name="T15" fmla="*/ 1 h 460"/>
                <a:gd name="T16" fmla="*/ 1 w 461"/>
                <a:gd name="T17" fmla="*/ 1 h 460"/>
                <a:gd name="T18" fmla="*/ 1 w 461"/>
                <a:gd name="T19" fmla="*/ 1 h 460"/>
                <a:gd name="T20" fmla="*/ 0 w 461"/>
                <a:gd name="T21" fmla="*/ 1 h 460"/>
                <a:gd name="T22" fmla="*/ 1 w 461"/>
                <a:gd name="T23" fmla="*/ 1 h 460"/>
                <a:gd name="T24" fmla="*/ 1 w 461"/>
                <a:gd name="T25" fmla="*/ 1 h 460"/>
                <a:gd name="T26" fmla="*/ 1 w 461"/>
                <a:gd name="T27" fmla="*/ 1 h 460"/>
                <a:gd name="T28" fmla="*/ 1 w 461"/>
                <a:gd name="T29" fmla="*/ 1 h 460"/>
                <a:gd name="T30" fmla="*/ 1 w 461"/>
                <a:gd name="T31" fmla="*/ 1 h 460"/>
                <a:gd name="T32" fmla="*/ 1 w 461"/>
                <a:gd name="T33" fmla="*/ 1 h 460"/>
                <a:gd name="T34" fmla="*/ 1 w 461"/>
                <a:gd name="T35" fmla="*/ 1 h 460"/>
                <a:gd name="T36" fmla="*/ 1 w 461"/>
                <a:gd name="T37" fmla="*/ 1 h 460"/>
                <a:gd name="T38" fmla="*/ 1 w 461"/>
                <a:gd name="T39" fmla="*/ 0 h 460"/>
                <a:gd name="T40" fmla="*/ 1 w 461"/>
                <a:gd name="T41" fmla="*/ 1 h 460"/>
                <a:gd name="T42" fmla="*/ 1 w 461"/>
                <a:gd name="T43" fmla="*/ 1 h 460"/>
                <a:gd name="T44" fmla="*/ 0 w 461"/>
                <a:gd name="T45" fmla="*/ 1 h 460"/>
                <a:gd name="T46" fmla="*/ 1 w 461"/>
                <a:gd name="T47" fmla="*/ 1 h 460"/>
                <a:gd name="T48" fmla="*/ 1 w 461"/>
                <a:gd name="T49" fmla="*/ 1 h 460"/>
                <a:gd name="T50" fmla="*/ 1 w 461"/>
                <a:gd name="T51" fmla="*/ 1 h 460"/>
                <a:gd name="T52" fmla="*/ 1 w 461"/>
                <a:gd name="T53" fmla="*/ 1 h 460"/>
                <a:gd name="T54" fmla="*/ 1 w 461"/>
                <a:gd name="T55" fmla="*/ 1 h 460"/>
                <a:gd name="T56" fmla="*/ 1 w 461"/>
                <a:gd name="T57" fmla="*/ 1 h 460"/>
                <a:gd name="T58" fmla="*/ 1 w 461"/>
                <a:gd name="T59" fmla="*/ 1 h 460"/>
                <a:gd name="T60" fmla="*/ 1 w 461"/>
                <a:gd name="T61" fmla="*/ 1 h 460"/>
                <a:gd name="T62" fmla="*/ 1 w 461"/>
                <a:gd name="T63" fmla="*/ 1 h 460"/>
                <a:gd name="T64" fmla="*/ 1 w 461"/>
                <a:gd name="T65" fmla="*/ 1 h 460"/>
                <a:gd name="T66" fmla="*/ 1 w 461"/>
                <a:gd name="T67" fmla="*/ 1 h 460"/>
                <a:gd name="T68" fmla="*/ 1 w 461"/>
                <a:gd name="T69" fmla="*/ 1 h 460"/>
                <a:gd name="T70" fmla="*/ 1 w 461"/>
                <a:gd name="T71" fmla="*/ 1 h 460"/>
                <a:gd name="T72" fmla="*/ 1 w 461"/>
                <a:gd name="T73" fmla="*/ 1 h 460"/>
                <a:gd name="T74" fmla="*/ 1 w 461"/>
                <a:gd name="T75" fmla="*/ 1 h 460"/>
                <a:gd name="T76" fmla="*/ 1 w 461"/>
                <a:gd name="T77" fmla="*/ 1 h 460"/>
                <a:gd name="T78" fmla="*/ 1 w 461"/>
                <a:gd name="T79" fmla="*/ 1 h 460"/>
                <a:gd name="T80" fmla="*/ 1 w 461"/>
                <a:gd name="T81" fmla="*/ 1 h 460"/>
                <a:gd name="T82" fmla="*/ 1 w 461"/>
                <a:gd name="T83" fmla="*/ 1 h 460"/>
                <a:gd name="T84" fmla="*/ 1 w 461"/>
                <a:gd name="T85" fmla="*/ 1 h 460"/>
                <a:gd name="T86" fmla="*/ 1 w 461"/>
                <a:gd name="T87" fmla="*/ 1 h 46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61" h="460">
                  <a:moveTo>
                    <a:pt x="42" y="228"/>
                  </a:moveTo>
                  <a:lnTo>
                    <a:pt x="56" y="153"/>
                  </a:lnTo>
                  <a:lnTo>
                    <a:pt x="96" y="91"/>
                  </a:lnTo>
                  <a:lnTo>
                    <a:pt x="157" y="49"/>
                  </a:lnTo>
                  <a:lnTo>
                    <a:pt x="231" y="35"/>
                  </a:lnTo>
                  <a:lnTo>
                    <a:pt x="306" y="49"/>
                  </a:lnTo>
                  <a:lnTo>
                    <a:pt x="365" y="91"/>
                  </a:lnTo>
                  <a:lnTo>
                    <a:pt x="405" y="153"/>
                  </a:lnTo>
                  <a:lnTo>
                    <a:pt x="419" y="228"/>
                  </a:lnTo>
                  <a:lnTo>
                    <a:pt x="405" y="306"/>
                  </a:lnTo>
                  <a:lnTo>
                    <a:pt x="365" y="369"/>
                  </a:lnTo>
                  <a:lnTo>
                    <a:pt x="306" y="411"/>
                  </a:lnTo>
                  <a:lnTo>
                    <a:pt x="231" y="425"/>
                  </a:lnTo>
                  <a:lnTo>
                    <a:pt x="157" y="411"/>
                  </a:lnTo>
                  <a:lnTo>
                    <a:pt x="96" y="369"/>
                  </a:lnTo>
                  <a:lnTo>
                    <a:pt x="56" y="306"/>
                  </a:lnTo>
                  <a:lnTo>
                    <a:pt x="42" y="228"/>
                  </a:lnTo>
                  <a:close/>
                  <a:moveTo>
                    <a:pt x="0" y="228"/>
                  </a:moveTo>
                  <a:lnTo>
                    <a:pt x="12" y="303"/>
                  </a:lnTo>
                  <a:lnTo>
                    <a:pt x="45" y="367"/>
                  </a:lnTo>
                  <a:lnTo>
                    <a:pt x="96" y="416"/>
                  </a:lnTo>
                  <a:lnTo>
                    <a:pt x="158" y="447"/>
                  </a:lnTo>
                  <a:lnTo>
                    <a:pt x="231" y="460"/>
                  </a:lnTo>
                  <a:lnTo>
                    <a:pt x="303" y="447"/>
                  </a:lnTo>
                  <a:lnTo>
                    <a:pt x="367" y="416"/>
                  </a:lnTo>
                  <a:lnTo>
                    <a:pt x="416" y="367"/>
                  </a:lnTo>
                  <a:lnTo>
                    <a:pt x="449" y="303"/>
                  </a:lnTo>
                  <a:lnTo>
                    <a:pt x="461" y="228"/>
                  </a:lnTo>
                  <a:lnTo>
                    <a:pt x="449" y="155"/>
                  </a:lnTo>
                  <a:lnTo>
                    <a:pt x="416" y="93"/>
                  </a:lnTo>
                  <a:lnTo>
                    <a:pt x="367" y="44"/>
                  </a:lnTo>
                  <a:lnTo>
                    <a:pt x="303" y="12"/>
                  </a:lnTo>
                  <a:lnTo>
                    <a:pt x="231" y="0"/>
                  </a:lnTo>
                  <a:lnTo>
                    <a:pt x="158" y="12"/>
                  </a:lnTo>
                  <a:lnTo>
                    <a:pt x="96" y="44"/>
                  </a:lnTo>
                  <a:lnTo>
                    <a:pt x="45" y="93"/>
                  </a:lnTo>
                  <a:lnTo>
                    <a:pt x="12" y="155"/>
                  </a:lnTo>
                  <a:lnTo>
                    <a:pt x="0" y="228"/>
                  </a:lnTo>
                  <a:close/>
                  <a:moveTo>
                    <a:pt x="141" y="364"/>
                  </a:moveTo>
                  <a:lnTo>
                    <a:pt x="183" y="364"/>
                  </a:lnTo>
                  <a:lnTo>
                    <a:pt x="183" y="247"/>
                  </a:lnTo>
                  <a:lnTo>
                    <a:pt x="228" y="247"/>
                  </a:lnTo>
                  <a:lnTo>
                    <a:pt x="301" y="364"/>
                  </a:lnTo>
                  <a:lnTo>
                    <a:pt x="346" y="364"/>
                  </a:lnTo>
                  <a:lnTo>
                    <a:pt x="325" y="333"/>
                  </a:lnTo>
                  <a:lnTo>
                    <a:pt x="289" y="275"/>
                  </a:lnTo>
                  <a:lnTo>
                    <a:pt x="270" y="244"/>
                  </a:lnTo>
                  <a:lnTo>
                    <a:pt x="304" y="235"/>
                  </a:lnTo>
                  <a:lnTo>
                    <a:pt x="331" y="213"/>
                  </a:lnTo>
                  <a:lnTo>
                    <a:pt x="339" y="173"/>
                  </a:lnTo>
                  <a:lnTo>
                    <a:pt x="329" y="131"/>
                  </a:lnTo>
                  <a:lnTo>
                    <a:pt x="298" y="105"/>
                  </a:lnTo>
                  <a:lnTo>
                    <a:pt x="245" y="96"/>
                  </a:lnTo>
                  <a:lnTo>
                    <a:pt x="219" y="96"/>
                  </a:lnTo>
                  <a:lnTo>
                    <a:pt x="169" y="96"/>
                  </a:lnTo>
                  <a:lnTo>
                    <a:pt x="141" y="96"/>
                  </a:lnTo>
                  <a:lnTo>
                    <a:pt x="141" y="364"/>
                  </a:lnTo>
                  <a:close/>
                  <a:moveTo>
                    <a:pt x="183" y="129"/>
                  </a:moveTo>
                  <a:lnTo>
                    <a:pt x="198" y="129"/>
                  </a:lnTo>
                  <a:lnTo>
                    <a:pt x="224" y="129"/>
                  </a:lnTo>
                  <a:lnTo>
                    <a:pt x="238" y="129"/>
                  </a:lnTo>
                  <a:lnTo>
                    <a:pt x="266" y="133"/>
                  </a:lnTo>
                  <a:lnTo>
                    <a:pt x="289" y="145"/>
                  </a:lnTo>
                  <a:lnTo>
                    <a:pt x="298" y="171"/>
                  </a:lnTo>
                  <a:lnTo>
                    <a:pt x="287" y="202"/>
                  </a:lnTo>
                  <a:lnTo>
                    <a:pt x="261" y="213"/>
                  </a:lnTo>
                  <a:lnTo>
                    <a:pt x="226" y="216"/>
                  </a:lnTo>
                  <a:lnTo>
                    <a:pt x="216" y="216"/>
                  </a:lnTo>
                  <a:lnTo>
                    <a:pt x="195" y="216"/>
                  </a:lnTo>
                  <a:lnTo>
                    <a:pt x="183" y="216"/>
                  </a:lnTo>
                  <a:lnTo>
                    <a:pt x="183" y="129"/>
                  </a:lnTo>
                  <a:close/>
                </a:path>
              </a:pathLst>
            </a:custGeom>
            <a:solidFill>
              <a:srgbClr val="0079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</p:grpSp>
      <p:sp>
        <p:nvSpPr>
          <p:cNvPr id="12" name="Line 2"/>
          <p:cNvSpPr>
            <a:spLocks noChangeShapeType="1"/>
          </p:cNvSpPr>
          <p:nvPr/>
        </p:nvSpPr>
        <p:spPr bwMode="auto">
          <a:xfrm>
            <a:off x="0" y="3429000"/>
            <a:ext cx="9140825" cy="0"/>
          </a:xfrm>
          <a:prstGeom prst="line">
            <a:avLst/>
          </a:prstGeom>
          <a:noFill/>
          <a:ln w="25400">
            <a:solidFill>
              <a:srgbClr val="FAA53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151" name="Rectangle 79"/>
          <p:cNvSpPr>
            <a:spLocks noGrp="1" noChangeArrowheads="1"/>
          </p:cNvSpPr>
          <p:nvPr>
            <p:ph type="subTitle" idx="1"/>
          </p:nvPr>
        </p:nvSpPr>
        <p:spPr>
          <a:xfrm>
            <a:off x="2806700" y="4724400"/>
            <a:ext cx="5867400" cy="762000"/>
          </a:xfrm>
        </p:spPr>
        <p:txBody>
          <a:bodyPr lIns="228600"/>
          <a:lstStyle>
            <a:lvl1pPr algn="r">
              <a:defRPr b="0" cap="all" baseline="0">
                <a:solidFill>
                  <a:srgbClr val="006699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790825" y="3505200"/>
            <a:ext cx="5895975" cy="1046440"/>
          </a:xfrm>
        </p:spPr>
        <p:txBody>
          <a:bodyPr lIns="228557" bIns="0" anchor="t">
            <a:spAutoFit/>
          </a:bodyPr>
          <a:lstStyle>
            <a:lvl1pPr algn="r">
              <a:defRPr sz="3400">
                <a:solidFill>
                  <a:srgbClr val="00669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61621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0550" y="1285875"/>
            <a:ext cx="3892550" cy="908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5500" y="1285875"/>
            <a:ext cx="3892550" cy="908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5224039"/>
      </p:ext>
    </p:extLst>
  </p:cSld>
  <p:clrMapOvr>
    <a:masterClrMapping/>
  </p:clrMapOvr>
  <p:transition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13046588"/>
      </p:ext>
    </p:extLst>
  </p:cSld>
  <p:clrMapOvr>
    <a:masterClrMapping/>
  </p:clrMapOvr>
  <p:transition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3703176"/>
      </p:ext>
    </p:extLst>
  </p:cSld>
  <p:clrMapOvr>
    <a:masterClrMapping/>
  </p:clrMapOvr>
  <p:transition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666032"/>
      </p:ext>
    </p:extLst>
  </p:cSld>
  <p:clrMapOvr>
    <a:masterClrMapping/>
  </p:clrMapOvr>
  <p:transition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7631940"/>
      </p:ext>
    </p:extLst>
  </p:cSld>
  <p:clrMapOvr>
    <a:masterClrMapping/>
  </p:clrMapOvr>
  <p:transition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4084270"/>
      </p:ext>
    </p:extLst>
  </p:cSld>
  <p:clrMapOvr>
    <a:masterClrMapping/>
  </p:clrMapOvr>
  <p:transition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42630732"/>
      </p:ext>
    </p:extLst>
  </p:cSld>
  <p:clrMapOvr>
    <a:masterClrMapping/>
  </p:clrMapOvr>
  <p:transition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525463"/>
            <a:ext cx="1984375" cy="16684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90550" y="525463"/>
            <a:ext cx="5800725" cy="16684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93048944"/>
      </p:ext>
    </p:extLst>
  </p:cSld>
  <p:clrMapOvr>
    <a:masterClrMapping/>
  </p:clrMapOvr>
  <p:transition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7543800" cy="762000"/>
          </a:xfrm>
        </p:spPr>
        <p:txBody>
          <a:bodyPr>
            <a:noAutofit/>
          </a:bodyPr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8856084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5"/>
          <p:cNvGrpSpPr>
            <a:grpSpLocks/>
          </p:cNvGrpSpPr>
          <p:nvPr/>
        </p:nvGrpSpPr>
        <p:grpSpPr bwMode="auto">
          <a:xfrm>
            <a:off x="457200" y="2362200"/>
            <a:ext cx="817563" cy="838200"/>
            <a:chOff x="18142" y="955"/>
            <a:chExt cx="2084" cy="2140"/>
          </a:xfrm>
        </p:grpSpPr>
        <p:sp>
          <p:nvSpPr>
            <p:cNvPr id="5" name="Rectangle 56"/>
            <p:cNvSpPr>
              <a:spLocks noChangeArrowheads="1"/>
            </p:cNvSpPr>
            <p:nvPr/>
          </p:nvSpPr>
          <p:spPr bwMode="auto">
            <a:xfrm>
              <a:off x="18142" y="955"/>
              <a:ext cx="1870" cy="214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en-US" sz="1600" dirty="0">
                <a:solidFill>
                  <a:srgbClr val="333333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6" name="Freeform 57"/>
            <p:cNvSpPr>
              <a:spLocks/>
            </p:cNvSpPr>
            <p:nvPr/>
          </p:nvSpPr>
          <p:spPr bwMode="auto">
            <a:xfrm>
              <a:off x="19101" y="2390"/>
              <a:ext cx="397" cy="620"/>
            </a:xfrm>
            <a:custGeom>
              <a:avLst/>
              <a:gdLst>
                <a:gd name="T0" fmla="*/ 1 w 790"/>
                <a:gd name="T1" fmla="*/ 1 h 1238"/>
                <a:gd name="T2" fmla="*/ 0 w 790"/>
                <a:gd name="T3" fmla="*/ 1 h 1238"/>
                <a:gd name="T4" fmla="*/ 1 w 790"/>
                <a:gd name="T5" fmla="*/ 1 h 1238"/>
                <a:gd name="T6" fmla="*/ 1 w 790"/>
                <a:gd name="T7" fmla="*/ 1 h 1238"/>
                <a:gd name="T8" fmla="*/ 1 w 790"/>
                <a:gd name="T9" fmla="*/ 1 h 1238"/>
                <a:gd name="T10" fmla="*/ 1 w 790"/>
                <a:gd name="T11" fmla="*/ 1 h 1238"/>
                <a:gd name="T12" fmla="*/ 1 w 790"/>
                <a:gd name="T13" fmla="*/ 1 h 1238"/>
                <a:gd name="T14" fmla="*/ 1 w 790"/>
                <a:gd name="T15" fmla="*/ 1 h 1238"/>
                <a:gd name="T16" fmla="*/ 1 w 790"/>
                <a:gd name="T17" fmla="*/ 1 h 1238"/>
                <a:gd name="T18" fmla="*/ 1 w 790"/>
                <a:gd name="T19" fmla="*/ 1 h 1238"/>
                <a:gd name="T20" fmla="*/ 1 w 790"/>
                <a:gd name="T21" fmla="*/ 1 h 1238"/>
                <a:gd name="T22" fmla="*/ 1 w 790"/>
                <a:gd name="T23" fmla="*/ 1 h 1238"/>
                <a:gd name="T24" fmla="*/ 1 w 790"/>
                <a:gd name="T25" fmla="*/ 1 h 1238"/>
                <a:gd name="T26" fmla="*/ 1 w 790"/>
                <a:gd name="T27" fmla="*/ 1 h 1238"/>
                <a:gd name="T28" fmla="*/ 1 w 790"/>
                <a:gd name="T29" fmla="*/ 0 h 1238"/>
                <a:gd name="T30" fmla="*/ 1 w 790"/>
                <a:gd name="T31" fmla="*/ 1 h 1238"/>
                <a:gd name="T32" fmla="*/ 1 w 790"/>
                <a:gd name="T33" fmla="*/ 1 h 1238"/>
                <a:gd name="T34" fmla="*/ 1 w 790"/>
                <a:gd name="T35" fmla="*/ 1 h 1238"/>
                <a:gd name="T36" fmla="*/ 1 w 790"/>
                <a:gd name="T37" fmla="*/ 1 h 1238"/>
                <a:gd name="T38" fmla="*/ 1 w 790"/>
                <a:gd name="T39" fmla="*/ 1 h 1238"/>
                <a:gd name="T40" fmla="*/ 1 w 790"/>
                <a:gd name="T41" fmla="*/ 1 h 1238"/>
                <a:gd name="T42" fmla="*/ 1 w 790"/>
                <a:gd name="T43" fmla="*/ 1 h 1238"/>
                <a:gd name="T44" fmla="*/ 1 w 790"/>
                <a:gd name="T45" fmla="*/ 1 h 1238"/>
                <a:gd name="T46" fmla="*/ 1 w 790"/>
                <a:gd name="T47" fmla="*/ 1 h 1238"/>
                <a:gd name="T48" fmla="*/ 1 w 790"/>
                <a:gd name="T49" fmla="*/ 1 h 1238"/>
                <a:gd name="T50" fmla="*/ 1 w 790"/>
                <a:gd name="T51" fmla="*/ 1 h 1238"/>
                <a:gd name="T52" fmla="*/ 1 w 790"/>
                <a:gd name="T53" fmla="*/ 1 h 1238"/>
                <a:gd name="T54" fmla="*/ 1 w 790"/>
                <a:gd name="T55" fmla="*/ 1 h 1238"/>
                <a:gd name="T56" fmla="*/ 1 w 790"/>
                <a:gd name="T57" fmla="*/ 1 h 1238"/>
                <a:gd name="T58" fmla="*/ 1 w 790"/>
                <a:gd name="T59" fmla="*/ 1 h 1238"/>
                <a:gd name="T60" fmla="*/ 1 w 790"/>
                <a:gd name="T61" fmla="*/ 1 h 1238"/>
                <a:gd name="T62" fmla="*/ 1 w 790"/>
                <a:gd name="T63" fmla="*/ 1 h 1238"/>
                <a:gd name="T64" fmla="*/ 1 w 790"/>
                <a:gd name="T65" fmla="*/ 1 h 1238"/>
                <a:gd name="T66" fmla="*/ 1 w 790"/>
                <a:gd name="T67" fmla="*/ 1 h 1238"/>
                <a:gd name="T68" fmla="*/ 1 w 790"/>
                <a:gd name="T69" fmla="*/ 1 h 1238"/>
                <a:gd name="T70" fmla="*/ 1 w 790"/>
                <a:gd name="T71" fmla="*/ 1 h 1238"/>
                <a:gd name="T72" fmla="*/ 1 w 790"/>
                <a:gd name="T73" fmla="*/ 1 h 1238"/>
                <a:gd name="T74" fmla="*/ 1 w 790"/>
                <a:gd name="T75" fmla="*/ 1 h 1238"/>
                <a:gd name="T76" fmla="*/ 1 w 790"/>
                <a:gd name="T77" fmla="*/ 1 h 1238"/>
                <a:gd name="T78" fmla="*/ 1 w 790"/>
                <a:gd name="T79" fmla="*/ 1 h 1238"/>
                <a:gd name="T80" fmla="*/ 1 w 790"/>
                <a:gd name="T81" fmla="*/ 1 h 1238"/>
                <a:gd name="T82" fmla="*/ 1 w 790"/>
                <a:gd name="T83" fmla="*/ 1 h 1238"/>
                <a:gd name="T84" fmla="*/ 1 w 790"/>
                <a:gd name="T85" fmla="*/ 1 h 1238"/>
                <a:gd name="T86" fmla="*/ 1 w 790"/>
                <a:gd name="T87" fmla="*/ 1 h 123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790" h="1238">
                  <a:moveTo>
                    <a:pt x="78" y="1113"/>
                  </a:moveTo>
                  <a:lnTo>
                    <a:pt x="31" y="1021"/>
                  </a:lnTo>
                  <a:lnTo>
                    <a:pt x="7" y="937"/>
                  </a:lnTo>
                  <a:lnTo>
                    <a:pt x="0" y="861"/>
                  </a:lnTo>
                  <a:lnTo>
                    <a:pt x="5" y="794"/>
                  </a:lnTo>
                  <a:lnTo>
                    <a:pt x="23" y="737"/>
                  </a:lnTo>
                  <a:lnTo>
                    <a:pt x="44" y="690"/>
                  </a:lnTo>
                  <a:lnTo>
                    <a:pt x="68" y="652"/>
                  </a:lnTo>
                  <a:lnTo>
                    <a:pt x="91" y="624"/>
                  </a:lnTo>
                  <a:lnTo>
                    <a:pt x="106" y="607"/>
                  </a:lnTo>
                  <a:lnTo>
                    <a:pt x="113" y="601"/>
                  </a:lnTo>
                  <a:lnTo>
                    <a:pt x="134" y="581"/>
                  </a:lnTo>
                  <a:lnTo>
                    <a:pt x="174" y="540"/>
                  </a:lnTo>
                  <a:lnTo>
                    <a:pt x="195" y="520"/>
                  </a:lnTo>
                  <a:lnTo>
                    <a:pt x="143" y="426"/>
                  </a:lnTo>
                  <a:lnTo>
                    <a:pt x="115" y="342"/>
                  </a:lnTo>
                  <a:lnTo>
                    <a:pt x="106" y="271"/>
                  </a:lnTo>
                  <a:lnTo>
                    <a:pt x="111" y="208"/>
                  </a:lnTo>
                  <a:lnTo>
                    <a:pt x="129" y="153"/>
                  </a:lnTo>
                  <a:lnTo>
                    <a:pt x="195" y="64"/>
                  </a:lnTo>
                  <a:lnTo>
                    <a:pt x="275" y="19"/>
                  </a:lnTo>
                  <a:lnTo>
                    <a:pt x="311" y="7"/>
                  </a:lnTo>
                  <a:lnTo>
                    <a:pt x="346" y="1"/>
                  </a:lnTo>
                  <a:lnTo>
                    <a:pt x="428" y="0"/>
                  </a:lnTo>
                  <a:lnTo>
                    <a:pt x="529" y="17"/>
                  </a:lnTo>
                  <a:lnTo>
                    <a:pt x="623" y="73"/>
                  </a:lnTo>
                  <a:lnTo>
                    <a:pt x="640" y="88"/>
                  </a:lnTo>
                  <a:lnTo>
                    <a:pt x="673" y="149"/>
                  </a:lnTo>
                  <a:lnTo>
                    <a:pt x="694" y="276"/>
                  </a:lnTo>
                  <a:lnTo>
                    <a:pt x="694" y="297"/>
                  </a:lnTo>
                  <a:lnTo>
                    <a:pt x="694" y="332"/>
                  </a:lnTo>
                  <a:lnTo>
                    <a:pt x="694" y="353"/>
                  </a:lnTo>
                  <a:lnTo>
                    <a:pt x="463" y="353"/>
                  </a:lnTo>
                  <a:lnTo>
                    <a:pt x="463" y="328"/>
                  </a:lnTo>
                  <a:lnTo>
                    <a:pt x="463" y="283"/>
                  </a:lnTo>
                  <a:lnTo>
                    <a:pt x="463" y="260"/>
                  </a:lnTo>
                  <a:lnTo>
                    <a:pt x="444" y="217"/>
                  </a:lnTo>
                  <a:lnTo>
                    <a:pt x="414" y="201"/>
                  </a:lnTo>
                  <a:lnTo>
                    <a:pt x="398" y="198"/>
                  </a:lnTo>
                  <a:lnTo>
                    <a:pt x="355" y="205"/>
                  </a:lnTo>
                  <a:lnTo>
                    <a:pt x="331" y="234"/>
                  </a:lnTo>
                  <a:lnTo>
                    <a:pt x="324" y="274"/>
                  </a:lnTo>
                  <a:lnTo>
                    <a:pt x="322" y="283"/>
                  </a:lnTo>
                  <a:lnTo>
                    <a:pt x="327" y="314"/>
                  </a:lnTo>
                  <a:lnTo>
                    <a:pt x="358" y="374"/>
                  </a:lnTo>
                  <a:lnTo>
                    <a:pt x="400" y="438"/>
                  </a:lnTo>
                  <a:lnTo>
                    <a:pt x="458" y="521"/>
                  </a:lnTo>
                  <a:lnTo>
                    <a:pt x="518" y="607"/>
                  </a:lnTo>
                  <a:lnTo>
                    <a:pt x="565" y="671"/>
                  </a:lnTo>
                  <a:lnTo>
                    <a:pt x="584" y="697"/>
                  </a:lnTo>
                  <a:lnTo>
                    <a:pt x="584" y="534"/>
                  </a:lnTo>
                  <a:lnTo>
                    <a:pt x="786" y="534"/>
                  </a:lnTo>
                  <a:lnTo>
                    <a:pt x="786" y="554"/>
                  </a:lnTo>
                  <a:lnTo>
                    <a:pt x="786" y="608"/>
                  </a:lnTo>
                  <a:lnTo>
                    <a:pt x="786" y="690"/>
                  </a:lnTo>
                  <a:lnTo>
                    <a:pt x="786" y="786"/>
                  </a:lnTo>
                  <a:lnTo>
                    <a:pt x="786" y="890"/>
                  </a:lnTo>
                  <a:lnTo>
                    <a:pt x="786" y="991"/>
                  </a:lnTo>
                  <a:lnTo>
                    <a:pt x="786" y="1080"/>
                  </a:lnTo>
                  <a:lnTo>
                    <a:pt x="788" y="1148"/>
                  </a:lnTo>
                  <a:lnTo>
                    <a:pt x="788" y="1184"/>
                  </a:lnTo>
                  <a:lnTo>
                    <a:pt x="790" y="1201"/>
                  </a:lnTo>
                  <a:lnTo>
                    <a:pt x="776" y="1229"/>
                  </a:lnTo>
                  <a:lnTo>
                    <a:pt x="722" y="1238"/>
                  </a:lnTo>
                  <a:lnTo>
                    <a:pt x="666" y="1238"/>
                  </a:lnTo>
                  <a:lnTo>
                    <a:pt x="544" y="1238"/>
                  </a:lnTo>
                  <a:lnTo>
                    <a:pt x="423" y="1238"/>
                  </a:lnTo>
                  <a:lnTo>
                    <a:pt x="369" y="1238"/>
                  </a:lnTo>
                  <a:lnTo>
                    <a:pt x="78" y="1113"/>
                  </a:lnTo>
                  <a:close/>
                </a:path>
              </a:pathLst>
            </a:custGeom>
            <a:solidFill>
              <a:srgbClr val="FFA9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7" name="Freeform 58"/>
            <p:cNvSpPr>
              <a:spLocks/>
            </p:cNvSpPr>
            <p:nvPr/>
          </p:nvSpPr>
          <p:spPr bwMode="auto">
            <a:xfrm>
              <a:off x="19222" y="2738"/>
              <a:ext cx="166" cy="170"/>
            </a:xfrm>
            <a:custGeom>
              <a:avLst/>
              <a:gdLst>
                <a:gd name="T0" fmla="*/ 0 w 336"/>
                <a:gd name="T1" fmla="*/ 0 h 343"/>
                <a:gd name="T2" fmla="*/ 0 w 336"/>
                <a:gd name="T3" fmla="*/ 0 h 343"/>
                <a:gd name="T4" fmla="*/ 0 w 336"/>
                <a:gd name="T5" fmla="*/ 0 h 343"/>
                <a:gd name="T6" fmla="*/ 0 w 336"/>
                <a:gd name="T7" fmla="*/ 0 h 343"/>
                <a:gd name="T8" fmla="*/ 0 w 336"/>
                <a:gd name="T9" fmla="*/ 0 h 343"/>
                <a:gd name="T10" fmla="*/ 0 w 336"/>
                <a:gd name="T11" fmla="*/ 0 h 343"/>
                <a:gd name="T12" fmla="*/ 0 w 336"/>
                <a:gd name="T13" fmla="*/ 0 h 343"/>
                <a:gd name="T14" fmla="*/ 0 w 336"/>
                <a:gd name="T15" fmla="*/ 0 h 343"/>
                <a:gd name="T16" fmla="*/ 0 w 336"/>
                <a:gd name="T17" fmla="*/ 0 h 343"/>
                <a:gd name="T18" fmla="*/ 0 w 336"/>
                <a:gd name="T19" fmla="*/ 0 h 343"/>
                <a:gd name="T20" fmla="*/ 0 w 336"/>
                <a:gd name="T21" fmla="*/ 0 h 343"/>
                <a:gd name="T22" fmla="*/ 0 w 336"/>
                <a:gd name="T23" fmla="*/ 0 h 343"/>
                <a:gd name="T24" fmla="*/ 0 w 336"/>
                <a:gd name="T25" fmla="*/ 0 h 343"/>
                <a:gd name="T26" fmla="*/ 0 w 336"/>
                <a:gd name="T27" fmla="*/ 0 h 343"/>
                <a:gd name="T28" fmla="*/ 0 w 336"/>
                <a:gd name="T29" fmla="*/ 0 h 343"/>
                <a:gd name="T30" fmla="*/ 0 w 336"/>
                <a:gd name="T31" fmla="*/ 0 h 343"/>
                <a:gd name="T32" fmla="*/ 0 w 336"/>
                <a:gd name="T33" fmla="*/ 0 h 343"/>
                <a:gd name="T34" fmla="*/ 0 w 336"/>
                <a:gd name="T35" fmla="*/ 0 h 343"/>
                <a:gd name="T36" fmla="*/ 0 w 336"/>
                <a:gd name="T37" fmla="*/ 0 h 343"/>
                <a:gd name="T38" fmla="*/ 0 w 336"/>
                <a:gd name="T39" fmla="*/ 0 h 343"/>
                <a:gd name="T40" fmla="*/ 0 w 336"/>
                <a:gd name="T41" fmla="*/ 0 h 343"/>
                <a:gd name="T42" fmla="*/ 0 w 336"/>
                <a:gd name="T43" fmla="*/ 0 h 34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336" h="343">
                  <a:moveTo>
                    <a:pt x="333" y="343"/>
                  </a:moveTo>
                  <a:lnTo>
                    <a:pt x="336" y="325"/>
                  </a:lnTo>
                  <a:lnTo>
                    <a:pt x="308" y="292"/>
                  </a:lnTo>
                  <a:lnTo>
                    <a:pt x="239" y="211"/>
                  </a:lnTo>
                  <a:lnTo>
                    <a:pt x="157" y="115"/>
                  </a:lnTo>
                  <a:lnTo>
                    <a:pt x="89" y="35"/>
                  </a:lnTo>
                  <a:lnTo>
                    <a:pt x="60" y="0"/>
                  </a:lnTo>
                  <a:lnTo>
                    <a:pt x="30" y="37"/>
                  </a:lnTo>
                  <a:lnTo>
                    <a:pt x="4" y="104"/>
                  </a:lnTo>
                  <a:lnTo>
                    <a:pt x="0" y="191"/>
                  </a:lnTo>
                  <a:lnTo>
                    <a:pt x="39" y="285"/>
                  </a:lnTo>
                  <a:lnTo>
                    <a:pt x="60" y="303"/>
                  </a:lnTo>
                  <a:lnTo>
                    <a:pt x="119" y="332"/>
                  </a:lnTo>
                  <a:lnTo>
                    <a:pt x="211" y="343"/>
                  </a:lnTo>
                  <a:lnTo>
                    <a:pt x="242" y="343"/>
                  </a:lnTo>
                  <a:lnTo>
                    <a:pt x="301" y="343"/>
                  </a:lnTo>
                  <a:lnTo>
                    <a:pt x="333" y="34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59"/>
            <p:cNvSpPr>
              <a:spLocks/>
            </p:cNvSpPr>
            <p:nvPr/>
          </p:nvSpPr>
          <p:spPr bwMode="auto">
            <a:xfrm>
              <a:off x="19538" y="1036"/>
              <a:ext cx="393" cy="1982"/>
            </a:xfrm>
            <a:custGeom>
              <a:avLst/>
              <a:gdLst>
                <a:gd name="T0" fmla="*/ 0 w 785"/>
                <a:gd name="T1" fmla="*/ 0 h 3959"/>
                <a:gd name="T2" fmla="*/ 0 w 785"/>
                <a:gd name="T3" fmla="*/ 1 h 3959"/>
                <a:gd name="T4" fmla="*/ 1 w 785"/>
                <a:gd name="T5" fmla="*/ 1 h 3959"/>
                <a:gd name="T6" fmla="*/ 1 w 785"/>
                <a:gd name="T7" fmla="*/ 1 h 3959"/>
                <a:gd name="T8" fmla="*/ 1 w 785"/>
                <a:gd name="T9" fmla="*/ 1 h 3959"/>
                <a:gd name="T10" fmla="*/ 1 w 785"/>
                <a:gd name="T11" fmla="*/ 1 h 3959"/>
                <a:gd name="T12" fmla="*/ 1 w 785"/>
                <a:gd name="T13" fmla="*/ 1 h 3959"/>
                <a:gd name="T14" fmla="*/ 1 w 785"/>
                <a:gd name="T15" fmla="*/ 1 h 3959"/>
                <a:gd name="T16" fmla="*/ 1 w 785"/>
                <a:gd name="T17" fmla="*/ 1 h 3959"/>
                <a:gd name="T18" fmla="*/ 1 w 785"/>
                <a:gd name="T19" fmla="*/ 1 h 3959"/>
                <a:gd name="T20" fmla="*/ 1 w 785"/>
                <a:gd name="T21" fmla="*/ 1 h 3959"/>
                <a:gd name="T22" fmla="*/ 1 w 785"/>
                <a:gd name="T23" fmla="*/ 1 h 3959"/>
                <a:gd name="T24" fmla="*/ 1 w 785"/>
                <a:gd name="T25" fmla="*/ 1 h 3959"/>
                <a:gd name="T26" fmla="*/ 1 w 785"/>
                <a:gd name="T27" fmla="*/ 1 h 3959"/>
                <a:gd name="T28" fmla="*/ 1 w 785"/>
                <a:gd name="T29" fmla="*/ 1 h 3959"/>
                <a:gd name="T30" fmla="*/ 1 w 785"/>
                <a:gd name="T31" fmla="*/ 0 h 3959"/>
                <a:gd name="T32" fmla="*/ 0 w 785"/>
                <a:gd name="T33" fmla="*/ 0 h 39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785" h="3959">
                  <a:moveTo>
                    <a:pt x="0" y="0"/>
                  </a:moveTo>
                  <a:lnTo>
                    <a:pt x="0" y="3959"/>
                  </a:lnTo>
                  <a:lnTo>
                    <a:pt x="49" y="3959"/>
                  </a:lnTo>
                  <a:lnTo>
                    <a:pt x="49" y="2454"/>
                  </a:lnTo>
                  <a:lnTo>
                    <a:pt x="696" y="2454"/>
                  </a:lnTo>
                  <a:lnTo>
                    <a:pt x="696" y="2720"/>
                  </a:lnTo>
                  <a:lnTo>
                    <a:pt x="369" y="2720"/>
                  </a:lnTo>
                  <a:lnTo>
                    <a:pt x="369" y="3056"/>
                  </a:lnTo>
                  <a:lnTo>
                    <a:pt x="696" y="3056"/>
                  </a:lnTo>
                  <a:lnTo>
                    <a:pt x="696" y="3322"/>
                  </a:lnTo>
                  <a:lnTo>
                    <a:pt x="369" y="3322"/>
                  </a:lnTo>
                  <a:lnTo>
                    <a:pt x="369" y="3684"/>
                  </a:lnTo>
                  <a:lnTo>
                    <a:pt x="696" y="3684"/>
                  </a:lnTo>
                  <a:lnTo>
                    <a:pt x="696" y="3945"/>
                  </a:lnTo>
                  <a:lnTo>
                    <a:pt x="785" y="3945"/>
                  </a:lnTo>
                  <a:lnTo>
                    <a:pt x="78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9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0"/>
            <p:cNvSpPr>
              <a:spLocks/>
            </p:cNvSpPr>
            <p:nvPr/>
          </p:nvSpPr>
          <p:spPr bwMode="auto">
            <a:xfrm>
              <a:off x="18421" y="2398"/>
              <a:ext cx="77" cy="219"/>
            </a:xfrm>
            <a:custGeom>
              <a:avLst/>
              <a:gdLst>
                <a:gd name="T0" fmla="*/ 0 w 152"/>
                <a:gd name="T1" fmla="*/ 0 h 435"/>
                <a:gd name="T2" fmla="*/ 0 w 152"/>
                <a:gd name="T3" fmla="*/ 1 h 435"/>
                <a:gd name="T4" fmla="*/ 0 w 152"/>
                <a:gd name="T5" fmla="*/ 1 h 435"/>
                <a:gd name="T6" fmla="*/ 0 w 152"/>
                <a:gd name="T7" fmla="*/ 1 h 435"/>
                <a:gd name="T8" fmla="*/ 0 w 152"/>
                <a:gd name="T9" fmla="*/ 1 h 435"/>
                <a:gd name="T10" fmla="*/ 0 w 152"/>
                <a:gd name="T11" fmla="*/ 1 h 435"/>
                <a:gd name="T12" fmla="*/ 0 w 152"/>
                <a:gd name="T13" fmla="*/ 1 h 435"/>
                <a:gd name="T14" fmla="*/ 0 w 152"/>
                <a:gd name="T15" fmla="*/ 1 h 435"/>
                <a:gd name="T16" fmla="*/ 1 w 152"/>
                <a:gd name="T17" fmla="*/ 1 h 435"/>
                <a:gd name="T18" fmla="*/ 1 w 152"/>
                <a:gd name="T19" fmla="*/ 1 h 435"/>
                <a:gd name="T20" fmla="*/ 1 w 152"/>
                <a:gd name="T21" fmla="*/ 1 h 435"/>
                <a:gd name="T22" fmla="*/ 1 w 152"/>
                <a:gd name="T23" fmla="*/ 1 h 435"/>
                <a:gd name="T24" fmla="*/ 1 w 152"/>
                <a:gd name="T25" fmla="*/ 1 h 435"/>
                <a:gd name="T26" fmla="*/ 1 w 152"/>
                <a:gd name="T27" fmla="*/ 1 h 435"/>
                <a:gd name="T28" fmla="*/ 1 w 152"/>
                <a:gd name="T29" fmla="*/ 1 h 435"/>
                <a:gd name="T30" fmla="*/ 1 w 152"/>
                <a:gd name="T31" fmla="*/ 1 h 435"/>
                <a:gd name="T32" fmla="*/ 1 w 152"/>
                <a:gd name="T33" fmla="*/ 1 h 435"/>
                <a:gd name="T34" fmla="*/ 1 w 152"/>
                <a:gd name="T35" fmla="*/ 1 h 435"/>
                <a:gd name="T36" fmla="*/ 0 w 152"/>
                <a:gd name="T37" fmla="*/ 0 h 435"/>
                <a:gd name="T38" fmla="*/ 0 w 152"/>
                <a:gd name="T39" fmla="*/ 0 h 43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2" h="435">
                  <a:moveTo>
                    <a:pt x="0" y="0"/>
                  </a:moveTo>
                  <a:lnTo>
                    <a:pt x="0" y="34"/>
                  </a:lnTo>
                  <a:lnTo>
                    <a:pt x="0" y="114"/>
                  </a:lnTo>
                  <a:lnTo>
                    <a:pt x="0" y="218"/>
                  </a:lnTo>
                  <a:lnTo>
                    <a:pt x="0" y="322"/>
                  </a:lnTo>
                  <a:lnTo>
                    <a:pt x="0" y="402"/>
                  </a:lnTo>
                  <a:lnTo>
                    <a:pt x="0" y="435"/>
                  </a:lnTo>
                  <a:lnTo>
                    <a:pt x="75" y="423"/>
                  </a:lnTo>
                  <a:lnTo>
                    <a:pt x="124" y="371"/>
                  </a:lnTo>
                  <a:lnTo>
                    <a:pt x="146" y="298"/>
                  </a:lnTo>
                  <a:lnTo>
                    <a:pt x="152" y="221"/>
                  </a:lnTo>
                  <a:lnTo>
                    <a:pt x="150" y="157"/>
                  </a:lnTo>
                  <a:lnTo>
                    <a:pt x="143" y="110"/>
                  </a:lnTo>
                  <a:lnTo>
                    <a:pt x="126" y="63"/>
                  </a:lnTo>
                  <a:lnTo>
                    <a:pt x="80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9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1"/>
            <p:cNvSpPr>
              <a:spLocks/>
            </p:cNvSpPr>
            <p:nvPr/>
          </p:nvSpPr>
          <p:spPr bwMode="auto">
            <a:xfrm>
              <a:off x="18223" y="1036"/>
              <a:ext cx="1307" cy="1982"/>
            </a:xfrm>
            <a:custGeom>
              <a:avLst/>
              <a:gdLst>
                <a:gd name="T0" fmla="*/ 0 w 2616"/>
                <a:gd name="T1" fmla="*/ 0 h 3962"/>
                <a:gd name="T2" fmla="*/ 0 w 2616"/>
                <a:gd name="T3" fmla="*/ 1 h 3962"/>
                <a:gd name="T4" fmla="*/ 0 w 2616"/>
                <a:gd name="T5" fmla="*/ 1 h 3962"/>
                <a:gd name="T6" fmla="*/ 0 w 2616"/>
                <a:gd name="T7" fmla="*/ 1 h 3962"/>
                <a:gd name="T8" fmla="*/ 0 w 2616"/>
                <a:gd name="T9" fmla="*/ 1 h 3962"/>
                <a:gd name="T10" fmla="*/ 0 w 2616"/>
                <a:gd name="T11" fmla="*/ 1 h 3962"/>
                <a:gd name="T12" fmla="*/ 0 w 2616"/>
                <a:gd name="T13" fmla="*/ 1 h 3962"/>
                <a:gd name="T14" fmla="*/ 0 w 2616"/>
                <a:gd name="T15" fmla="*/ 1 h 3962"/>
                <a:gd name="T16" fmla="*/ 0 w 2616"/>
                <a:gd name="T17" fmla="*/ 1 h 3962"/>
                <a:gd name="T18" fmla="*/ 0 w 2616"/>
                <a:gd name="T19" fmla="*/ 1 h 3962"/>
                <a:gd name="T20" fmla="*/ 0 w 2616"/>
                <a:gd name="T21" fmla="*/ 1 h 3962"/>
                <a:gd name="T22" fmla="*/ 0 w 2616"/>
                <a:gd name="T23" fmla="*/ 1 h 3962"/>
                <a:gd name="T24" fmla="*/ 0 w 2616"/>
                <a:gd name="T25" fmla="*/ 1 h 3962"/>
                <a:gd name="T26" fmla="*/ 0 w 2616"/>
                <a:gd name="T27" fmla="*/ 1 h 3962"/>
                <a:gd name="T28" fmla="*/ 0 w 2616"/>
                <a:gd name="T29" fmla="*/ 1 h 3962"/>
                <a:gd name="T30" fmla="*/ 0 w 2616"/>
                <a:gd name="T31" fmla="*/ 1 h 3962"/>
                <a:gd name="T32" fmla="*/ 0 w 2616"/>
                <a:gd name="T33" fmla="*/ 1 h 3962"/>
                <a:gd name="T34" fmla="*/ 0 w 2616"/>
                <a:gd name="T35" fmla="*/ 1 h 3962"/>
                <a:gd name="T36" fmla="*/ 0 w 2616"/>
                <a:gd name="T37" fmla="*/ 1 h 3962"/>
                <a:gd name="T38" fmla="*/ 0 w 2616"/>
                <a:gd name="T39" fmla="*/ 1 h 3962"/>
                <a:gd name="T40" fmla="*/ 0 w 2616"/>
                <a:gd name="T41" fmla="*/ 1 h 3962"/>
                <a:gd name="T42" fmla="*/ 0 w 2616"/>
                <a:gd name="T43" fmla="*/ 1 h 3962"/>
                <a:gd name="T44" fmla="*/ 0 w 2616"/>
                <a:gd name="T45" fmla="*/ 1 h 3962"/>
                <a:gd name="T46" fmla="*/ 0 w 2616"/>
                <a:gd name="T47" fmla="*/ 1 h 3962"/>
                <a:gd name="T48" fmla="*/ 0 w 2616"/>
                <a:gd name="T49" fmla="*/ 1 h 3962"/>
                <a:gd name="T50" fmla="*/ 0 w 2616"/>
                <a:gd name="T51" fmla="*/ 1 h 3962"/>
                <a:gd name="T52" fmla="*/ 0 w 2616"/>
                <a:gd name="T53" fmla="*/ 1 h 3962"/>
                <a:gd name="T54" fmla="*/ 0 w 2616"/>
                <a:gd name="T55" fmla="*/ 1 h 3962"/>
                <a:gd name="T56" fmla="*/ 0 w 2616"/>
                <a:gd name="T57" fmla="*/ 1 h 3962"/>
                <a:gd name="T58" fmla="*/ 0 w 2616"/>
                <a:gd name="T59" fmla="*/ 1 h 3962"/>
                <a:gd name="T60" fmla="*/ 0 w 2616"/>
                <a:gd name="T61" fmla="*/ 1 h 3962"/>
                <a:gd name="T62" fmla="*/ 0 w 2616"/>
                <a:gd name="T63" fmla="*/ 1 h 3962"/>
                <a:gd name="T64" fmla="*/ 0 w 2616"/>
                <a:gd name="T65" fmla="*/ 1 h 3962"/>
                <a:gd name="T66" fmla="*/ 0 w 2616"/>
                <a:gd name="T67" fmla="*/ 1 h 3962"/>
                <a:gd name="T68" fmla="*/ 0 w 2616"/>
                <a:gd name="T69" fmla="*/ 1 h 3962"/>
                <a:gd name="T70" fmla="*/ 0 w 2616"/>
                <a:gd name="T71" fmla="*/ 1 h 3962"/>
                <a:gd name="T72" fmla="*/ 0 w 2616"/>
                <a:gd name="T73" fmla="*/ 1 h 3962"/>
                <a:gd name="T74" fmla="*/ 0 w 2616"/>
                <a:gd name="T75" fmla="*/ 1 h 3962"/>
                <a:gd name="T76" fmla="*/ 0 w 2616"/>
                <a:gd name="T77" fmla="*/ 1 h 3962"/>
                <a:gd name="T78" fmla="*/ 0 w 2616"/>
                <a:gd name="T79" fmla="*/ 1 h 3962"/>
                <a:gd name="T80" fmla="*/ 0 w 2616"/>
                <a:gd name="T81" fmla="*/ 1 h 3962"/>
                <a:gd name="T82" fmla="*/ 0 w 2616"/>
                <a:gd name="T83" fmla="*/ 1 h 3962"/>
                <a:gd name="T84" fmla="*/ 0 w 2616"/>
                <a:gd name="T85" fmla="*/ 1 h 396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616" h="3962">
                  <a:moveTo>
                    <a:pt x="1638" y="3482"/>
                  </a:moveTo>
                  <a:lnTo>
                    <a:pt x="2616" y="0"/>
                  </a:lnTo>
                  <a:lnTo>
                    <a:pt x="3" y="0"/>
                  </a:lnTo>
                  <a:lnTo>
                    <a:pt x="0" y="3962"/>
                  </a:lnTo>
                  <a:lnTo>
                    <a:pt x="96" y="3962"/>
                  </a:lnTo>
                  <a:lnTo>
                    <a:pt x="96" y="2447"/>
                  </a:lnTo>
                  <a:lnTo>
                    <a:pt x="405" y="2447"/>
                  </a:lnTo>
                  <a:lnTo>
                    <a:pt x="421" y="2447"/>
                  </a:lnTo>
                  <a:lnTo>
                    <a:pt x="466" y="2449"/>
                  </a:lnTo>
                  <a:lnTo>
                    <a:pt x="529" y="2458"/>
                  </a:lnTo>
                  <a:lnTo>
                    <a:pt x="602" y="2477"/>
                  </a:lnTo>
                  <a:lnTo>
                    <a:pt x="678" y="2513"/>
                  </a:lnTo>
                  <a:lnTo>
                    <a:pt x="748" y="2573"/>
                  </a:lnTo>
                  <a:lnTo>
                    <a:pt x="804" y="2656"/>
                  </a:lnTo>
                  <a:lnTo>
                    <a:pt x="828" y="2719"/>
                  </a:lnTo>
                  <a:lnTo>
                    <a:pt x="842" y="2790"/>
                  </a:lnTo>
                  <a:lnTo>
                    <a:pt x="850" y="2898"/>
                  </a:lnTo>
                  <a:lnTo>
                    <a:pt x="850" y="3002"/>
                  </a:lnTo>
                  <a:lnTo>
                    <a:pt x="842" y="3098"/>
                  </a:lnTo>
                  <a:lnTo>
                    <a:pt x="828" y="3171"/>
                  </a:lnTo>
                  <a:lnTo>
                    <a:pt x="817" y="3206"/>
                  </a:lnTo>
                  <a:lnTo>
                    <a:pt x="805" y="3228"/>
                  </a:lnTo>
                  <a:lnTo>
                    <a:pt x="779" y="3270"/>
                  </a:lnTo>
                  <a:lnTo>
                    <a:pt x="736" y="3322"/>
                  </a:lnTo>
                  <a:lnTo>
                    <a:pt x="675" y="3373"/>
                  </a:lnTo>
                  <a:lnTo>
                    <a:pt x="597" y="3408"/>
                  </a:lnTo>
                  <a:lnTo>
                    <a:pt x="496" y="3418"/>
                  </a:lnTo>
                  <a:lnTo>
                    <a:pt x="470" y="3418"/>
                  </a:lnTo>
                  <a:lnTo>
                    <a:pt x="421" y="3416"/>
                  </a:lnTo>
                  <a:lnTo>
                    <a:pt x="395" y="3414"/>
                  </a:lnTo>
                  <a:lnTo>
                    <a:pt x="395" y="3948"/>
                  </a:lnTo>
                  <a:lnTo>
                    <a:pt x="1117" y="3948"/>
                  </a:lnTo>
                  <a:lnTo>
                    <a:pt x="1104" y="3945"/>
                  </a:lnTo>
                  <a:lnTo>
                    <a:pt x="1073" y="3931"/>
                  </a:lnTo>
                  <a:lnTo>
                    <a:pt x="1031" y="3907"/>
                  </a:lnTo>
                  <a:lnTo>
                    <a:pt x="984" y="3867"/>
                  </a:lnTo>
                  <a:lnTo>
                    <a:pt x="943" y="3808"/>
                  </a:lnTo>
                  <a:lnTo>
                    <a:pt x="911" y="3728"/>
                  </a:lnTo>
                  <a:lnTo>
                    <a:pt x="899" y="3623"/>
                  </a:lnTo>
                  <a:lnTo>
                    <a:pt x="899" y="3609"/>
                  </a:lnTo>
                  <a:lnTo>
                    <a:pt x="899" y="3569"/>
                  </a:lnTo>
                  <a:lnTo>
                    <a:pt x="899" y="3507"/>
                  </a:lnTo>
                  <a:lnTo>
                    <a:pt x="899" y="3428"/>
                  </a:lnTo>
                  <a:lnTo>
                    <a:pt x="899" y="3340"/>
                  </a:lnTo>
                  <a:lnTo>
                    <a:pt x="899" y="3242"/>
                  </a:lnTo>
                  <a:lnTo>
                    <a:pt x="899" y="3143"/>
                  </a:lnTo>
                  <a:lnTo>
                    <a:pt x="899" y="3046"/>
                  </a:lnTo>
                  <a:lnTo>
                    <a:pt x="899" y="2957"/>
                  </a:lnTo>
                  <a:lnTo>
                    <a:pt x="899" y="2879"/>
                  </a:lnTo>
                  <a:lnTo>
                    <a:pt x="899" y="2816"/>
                  </a:lnTo>
                  <a:lnTo>
                    <a:pt x="899" y="2776"/>
                  </a:lnTo>
                  <a:lnTo>
                    <a:pt x="899" y="2762"/>
                  </a:lnTo>
                  <a:lnTo>
                    <a:pt x="897" y="2747"/>
                  </a:lnTo>
                  <a:lnTo>
                    <a:pt x="899" y="2708"/>
                  </a:lnTo>
                  <a:lnTo>
                    <a:pt x="908" y="2654"/>
                  </a:lnTo>
                  <a:lnTo>
                    <a:pt x="929" y="2593"/>
                  </a:lnTo>
                  <a:lnTo>
                    <a:pt x="969" y="2531"/>
                  </a:lnTo>
                  <a:lnTo>
                    <a:pt x="1033" y="2477"/>
                  </a:lnTo>
                  <a:lnTo>
                    <a:pt x="1127" y="2440"/>
                  </a:lnTo>
                  <a:lnTo>
                    <a:pt x="1139" y="2437"/>
                  </a:lnTo>
                  <a:lnTo>
                    <a:pt x="1172" y="2428"/>
                  </a:lnTo>
                  <a:lnTo>
                    <a:pt x="1223" y="2421"/>
                  </a:lnTo>
                  <a:lnTo>
                    <a:pt x="1285" y="2418"/>
                  </a:lnTo>
                  <a:lnTo>
                    <a:pt x="1355" y="2425"/>
                  </a:lnTo>
                  <a:lnTo>
                    <a:pt x="1426" y="2446"/>
                  </a:lnTo>
                  <a:lnTo>
                    <a:pt x="1494" y="2486"/>
                  </a:lnTo>
                  <a:lnTo>
                    <a:pt x="1557" y="2550"/>
                  </a:lnTo>
                  <a:lnTo>
                    <a:pt x="1565" y="2559"/>
                  </a:lnTo>
                  <a:lnTo>
                    <a:pt x="1588" y="2592"/>
                  </a:lnTo>
                  <a:lnTo>
                    <a:pt x="1612" y="2654"/>
                  </a:lnTo>
                  <a:lnTo>
                    <a:pt x="1628" y="2755"/>
                  </a:lnTo>
                  <a:lnTo>
                    <a:pt x="1624" y="2898"/>
                  </a:lnTo>
                  <a:lnTo>
                    <a:pt x="1550" y="2898"/>
                  </a:lnTo>
                  <a:lnTo>
                    <a:pt x="1411" y="2896"/>
                  </a:lnTo>
                  <a:lnTo>
                    <a:pt x="1334" y="2894"/>
                  </a:lnTo>
                  <a:lnTo>
                    <a:pt x="1334" y="2755"/>
                  </a:lnTo>
                  <a:lnTo>
                    <a:pt x="1331" y="2738"/>
                  </a:lnTo>
                  <a:lnTo>
                    <a:pt x="1311" y="2705"/>
                  </a:lnTo>
                  <a:lnTo>
                    <a:pt x="1266" y="2687"/>
                  </a:lnTo>
                  <a:lnTo>
                    <a:pt x="1221" y="2701"/>
                  </a:lnTo>
                  <a:lnTo>
                    <a:pt x="1204" y="2733"/>
                  </a:lnTo>
                  <a:lnTo>
                    <a:pt x="1200" y="2776"/>
                  </a:lnTo>
                  <a:lnTo>
                    <a:pt x="1200" y="2792"/>
                  </a:lnTo>
                  <a:lnTo>
                    <a:pt x="1200" y="2839"/>
                  </a:lnTo>
                  <a:lnTo>
                    <a:pt x="1200" y="2908"/>
                  </a:lnTo>
                  <a:lnTo>
                    <a:pt x="1200" y="2997"/>
                  </a:lnTo>
                  <a:lnTo>
                    <a:pt x="1200" y="3096"/>
                  </a:lnTo>
                  <a:lnTo>
                    <a:pt x="1200" y="3202"/>
                  </a:lnTo>
                  <a:lnTo>
                    <a:pt x="1200" y="3308"/>
                  </a:lnTo>
                  <a:lnTo>
                    <a:pt x="1200" y="3409"/>
                  </a:lnTo>
                  <a:lnTo>
                    <a:pt x="1200" y="3496"/>
                  </a:lnTo>
                  <a:lnTo>
                    <a:pt x="1200" y="3568"/>
                  </a:lnTo>
                  <a:lnTo>
                    <a:pt x="1200" y="3613"/>
                  </a:lnTo>
                  <a:lnTo>
                    <a:pt x="1200" y="3630"/>
                  </a:lnTo>
                  <a:lnTo>
                    <a:pt x="1202" y="3649"/>
                  </a:lnTo>
                  <a:lnTo>
                    <a:pt x="1216" y="3688"/>
                  </a:lnTo>
                  <a:lnTo>
                    <a:pt x="1263" y="3717"/>
                  </a:lnTo>
                  <a:lnTo>
                    <a:pt x="1303" y="3714"/>
                  </a:lnTo>
                  <a:lnTo>
                    <a:pt x="1336" y="3688"/>
                  </a:lnTo>
                  <a:lnTo>
                    <a:pt x="1350" y="3642"/>
                  </a:lnTo>
                  <a:lnTo>
                    <a:pt x="1350" y="3576"/>
                  </a:lnTo>
                  <a:lnTo>
                    <a:pt x="1350" y="3456"/>
                  </a:lnTo>
                  <a:lnTo>
                    <a:pt x="1350" y="3390"/>
                  </a:lnTo>
                  <a:lnTo>
                    <a:pt x="1268" y="3390"/>
                  </a:lnTo>
                  <a:lnTo>
                    <a:pt x="1268" y="3127"/>
                  </a:lnTo>
                  <a:lnTo>
                    <a:pt x="1638" y="3127"/>
                  </a:lnTo>
                  <a:lnTo>
                    <a:pt x="1638" y="3482"/>
                  </a:lnTo>
                  <a:lnTo>
                    <a:pt x="1649" y="3482"/>
                  </a:lnTo>
                  <a:lnTo>
                    <a:pt x="1638" y="3482"/>
                  </a:lnTo>
                  <a:close/>
                </a:path>
              </a:pathLst>
            </a:custGeom>
            <a:solidFill>
              <a:srgbClr val="0079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1" name="Freeform 62"/>
            <p:cNvSpPr>
              <a:spLocks noEditPoints="1"/>
            </p:cNvSpPr>
            <p:nvPr/>
          </p:nvSpPr>
          <p:spPr bwMode="auto">
            <a:xfrm>
              <a:off x="19995" y="1044"/>
              <a:ext cx="231" cy="231"/>
            </a:xfrm>
            <a:custGeom>
              <a:avLst/>
              <a:gdLst>
                <a:gd name="T0" fmla="*/ 1 w 461"/>
                <a:gd name="T1" fmla="*/ 1 h 460"/>
                <a:gd name="T2" fmla="*/ 1 w 461"/>
                <a:gd name="T3" fmla="*/ 1 h 460"/>
                <a:gd name="T4" fmla="*/ 1 w 461"/>
                <a:gd name="T5" fmla="*/ 1 h 460"/>
                <a:gd name="T6" fmla="*/ 1 w 461"/>
                <a:gd name="T7" fmla="*/ 1 h 460"/>
                <a:gd name="T8" fmla="*/ 1 w 461"/>
                <a:gd name="T9" fmla="*/ 1 h 460"/>
                <a:gd name="T10" fmla="*/ 1 w 461"/>
                <a:gd name="T11" fmla="*/ 1 h 460"/>
                <a:gd name="T12" fmla="*/ 1 w 461"/>
                <a:gd name="T13" fmla="*/ 1 h 460"/>
                <a:gd name="T14" fmla="*/ 1 w 461"/>
                <a:gd name="T15" fmla="*/ 1 h 460"/>
                <a:gd name="T16" fmla="*/ 1 w 461"/>
                <a:gd name="T17" fmla="*/ 1 h 460"/>
                <a:gd name="T18" fmla="*/ 1 w 461"/>
                <a:gd name="T19" fmla="*/ 1 h 460"/>
                <a:gd name="T20" fmla="*/ 0 w 461"/>
                <a:gd name="T21" fmla="*/ 1 h 460"/>
                <a:gd name="T22" fmla="*/ 1 w 461"/>
                <a:gd name="T23" fmla="*/ 1 h 460"/>
                <a:gd name="T24" fmla="*/ 1 w 461"/>
                <a:gd name="T25" fmla="*/ 1 h 460"/>
                <a:gd name="T26" fmla="*/ 1 w 461"/>
                <a:gd name="T27" fmla="*/ 1 h 460"/>
                <a:gd name="T28" fmla="*/ 1 w 461"/>
                <a:gd name="T29" fmla="*/ 1 h 460"/>
                <a:gd name="T30" fmla="*/ 1 w 461"/>
                <a:gd name="T31" fmla="*/ 1 h 460"/>
                <a:gd name="T32" fmla="*/ 1 w 461"/>
                <a:gd name="T33" fmla="*/ 1 h 460"/>
                <a:gd name="T34" fmla="*/ 1 w 461"/>
                <a:gd name="T35" fmla="*/ 1 h 460"/>
                <a:gd name="T36" fmla="*/ 1 w 461"/>
                <a:gd name="T37" fmla="*/ 1 h 460"/>
                <a:gd name="T38" fmla="*/ 1 w 461"/>
                <a:gd name="T39" fmla="*/ 0 h 460"/>
                <a:gd name="T40" fmla="*/ 1 w 461"/>
                <a:gd name="T41" fmla="*/ 1 h 460"/>
                <a:gd name="T42" fmla="*/ 1 w 461"/>
                <a:gd name="T43" fmla="*/ 1 h 460"/>
                <a:gd name="T44" fmla="*/ 0 w 461"/>
                <a:gd name="T45" fmla="*/ 1 h 460"/>
                <a:gd name="T46" fmla="*/ 1 w 461"/>
                <a:gd name="T47" fmla="*/ 1 h 460"/>
                <a:gd name="T48" fmla="*/ 1 w 461"/>
                <a:gd name="T49" fmla="*/ 1 h 460"/>
                <a:gd name="T50" fmla="*/ 1 w 461"/>
                <a:gd name="T51" fmla="*/ 1 h 460"/>
                <a:gd name="T52" fmla="*/ 1 w 461"/>
                <a:gd name="T53" fmla="*/ 1 h 460"/>
                <a:gd name="T54" fmla="*/ 1 w 461"/>
                <a:gd name="T55" fmla="*/ 1 h 460"/>
                <a:gd name="T56" fmla="*/ 1 w 461"/>
                <a:gd name="T57" fmla="*/ 1 h 460"/>
                <a:gd name="T58" fmla="*/ 1 w 461"/>
                <a:gd name="T59" fmla="*/ 1 h 460"/>
                <a:gd name="T60" fmla="*/ 1 w 461"/>
                <a:gd name="T61" fmla="*/ 1 h 460"/>
                <a:gd name="T62" fmla="*/ 1 w 461"/>
                <a:gd name="T63" fmla="*/ 1 h 460"/>
                <a:gd name="T64" fmla="*/ 1 w 461"/>
                <a:gd name="T65" fmla="*/ 1 h 460"/>
                <a:gd name="T66" fmla="*/ 1 w 461"/>
                <a:gd name="T67" fmla="*/ 1 h 460"/>
                <a:gd name="T68" fmla="*/ 1 w 461"/>
                <a:gd name="T69" fmla="*/ 1 h 460"/>
                <a:gd name="T70" fmla="*/ 1 w 461"/>
                <a:gd name="T71" fmla="*/ 1 h 460"/>
                <a:gd name="T72" fmla="*/ 1 w 461"/>
                <a:gd name="T73" fmla="*/ 1 h 460"/>
                <a:gd name="T74" fmla="*/ 1 w 461"/>
                <a:gd name="T75" fmla="*/ 1 h 460"/>
                <a:gd name="T76" fmla="*/ 1 w 461"/>
                <a:gd name="T77" fmla="*/ 1 h 460"/>
                <a:gd name="T78" fmla="*/ 1 w 461"/>
                <a:gd name="T79" fmla="*/ 1 h 460"/>
                <a:gd name="T80" fmla="*/ 1 w 461"/>
                <a:gd name="T81" fmla="*/ 1 h 460"/>
                <a:gd name="T82" fmla="*/ 1 w 461"/>
                <a:gd name="T83" fmla="*/ 1 h 460"/>
                <a:gd name="T84" fmla="*/ 1 w 461"/>
                <a:gd name="T85" fmla="*/ 1 h 460"/>
                <a:gd name="T86" fmla="*/ 1 w 461"/>
                <a:gd name="T87" fmla="*/ 1 h 46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61" h="460">
                  <a:moveTo>
                    <a:pt x="42" y="228"/>
                  </a:moveTo>
                  <a:lnTo>
                    <a:pt x="56" y="153"/>
                  </a:lnTo>
                  <a:lnTo>
                    <a:pt x="96" y="91"/>
                  </a:lnTo>
                  <a:lnTo>
                    <a:pt x="157" y="49"/>
                  </a:lnTo>
                  <a:lnTo>
                    <a:pt x="231" y="35"/>
                  </a:lnTo>
                  <a:lnTo>
                    <a:pt x="306" y="49"/>
                  </a:lnTo>
                  <a:lnTo>
                    <a:pt x="365" y="91"/>
                  </a:lnTo>
                  <a:lnTo>
                    <a:pt x="405" y="153"/>
                  </a:lnTo>
                  <a:lnTo>
                    <a:pt x="419" y="228"/>
                  </a:lnTo>
                  <a:lnTo>
                    <a:pt x="405" y="306"/>
                  </a:lnTo>
                  <a:lnTo>
                    <a:pt x="365" y="369"/>
                  </a:lnTo>
                  <a:lnTo>
                    <a:pt x="306" y="411"/>
                  </a:lnTo>
                  <a:lnTo>
                    <a:pt x="231" y="425"/>
                  </a:lnTo>
                  <a:lnTo>
                    <a:pt x="157" y="411"/>
                  </a:lnTo>
                  <a:lnTo>
                    <a:pt x="96" y="369"/>
                  </a:lnTo>
                  <a:lnTo>
                    <a:pt x="56" y="306"/>
                  </a:lnTo>
                  <a:lnTo>
                    <a:pt x="42" y="228"/>
                  </a:lnTo>
                  <a:close/>
                  <a:moveTo>
                    <a:pt x="0" y="228"/>
                  </a:moveTo>
                  <a:lnTo>
                    <a:pt x="12" y="303"/>
                  </a:lnTo>
                  <a:lnTo>
                    <a:pt x="45" y="367"/>
                  </a:lnTo>
                  <a:lnTo>
                    <a:pt x="96" y="416"/>
                  </a:lnTo>
                  <a:lnTo>
                    <a:pt x="158" y="447"/>
                  </a:lnTo>
                  <a:lnTo>
                    <a:pt x="231" y="460"/>
                  </a:lnTo>
                  <a:lnTo>
                    <a:pt x="303" y="447"/>
                  </a:lnTo>
                  <a:lnTo>
                    <a:pt x="367" y="416"/>
                  </a:lnTo>
                  <a:lnTo>
                    <a:pt x="416" y="367"/>
                  </a:lnTo>
                  <a:lnTo>
                    <a:pt x="449" y="303"/>
                  </a:lnTo>
                  <a:lnTo>
                    <a:pt x="461" y="228"/>
                  </a:lnTo>
                  <a:lnTo>
                    <a:pt x="449" y="155"/>
                  </a:lnTo>
                  <a:lnTo>
                    <a:pt x="416" y="93"/>
                  </a:lnTo>
                  <a:lnTo>
                    <a:pt x="367" y="44"/>
                  </a:lnTo>
                  <a:lnTo>
                    <a:pt x="303" y="12"/>
                  </a:lnTo>
                  <a:lnTo>
                    <a:pt x="231" y="0"/>
                  </a:lnTo>
                  <a:lnTo>
                    <a:pt x="158" y="12"/>
                  </a:lnTo>
                  <a:lnTo>
                    <a:pt x="96" y="44"/>
                  </a:lnTo>
                  <a:lnTo>
                    <a:pt x="45" y="93"/>
                  </a:lnTo>
                  <a:lnTo>
                    <a:pt x="12" y="155"/>
                  </a:lnTo>
                  <a:lnTo>
                    <a:pt x="0" y="228"/>
                  </a:lnTo>
                  <a:close/>
                  <a:moveTo>
                    <a:pt x="141" y="364"/>
                  </a:moveTo>
                  <a:lnTo>
                    <a:pt x="183" y="364"/>
                  </a:lnTo>
                  <a:lnTo>
                    <a:pt x="183" y="247"/>
                  </a:lnTo>
                  <a:lnTo>
                    <a:pt x="228" y="247"/>
                  </a:lnTo>
                  <a:lnTo>
                    <a:pt x="301" y="364"/>
                  </a:lnTo>
                  <a:lnTo>
                    <a:pt x="346" y="364"/>
                  </a:lnTo>
                  <a:lnTo>
                    <a:pt x="325" y="333"/>
                  </a:lnTo>
                  <a:lnTo>
                    <a:pt x="289" y="275"/>
                  </a:lnTo>
                  <a:lnTo>
                    <a:pt x="270" y="244"/>
                  </a:lnTo>
                  <a:lnTo>
                    <a:pt x="304" y="235"/>
                  </a:lnTo>
                  <a:lnTo>
                    <a:pt x="331" y="213"/>
                  </a:lnTo>
                  <a:lnTo>
                    <a:pt x="339" y="173"/>
                  </a:lnTo>
                  <a:lnTo>
                    <a:pt x="329" y="131"/>
                  </a:lnTo>
                  <a:lnTo>
                    <a:pt x="298" y="105"/>
                  </a:lnTo>
                  <a:lnTo>
                    <a:pt x="245" y="96"/>
                  </a:lnTo>
                  <a:lnTo>
                    <a:pt x="219" y="96"/>
                  </a:lnTo>
                  <a:lnTo>
                    <a:pt x="169" y="96"/>
                  </a:lnTo>
                  <a:lnTo>
                    <a:pt x="141" y="96"/>
                  </a:lnTo>
                  <a:lnTo>
                    <a:pt x="141" y="364"/>
                  </a:lnTo>
                  <a:close/>
                  <a:moveTo>
                    <a:pt x="183" y="129"/>
                  </a:moveTo>
                  <a:lnTo>
                    <a:pt x="198" y="129"/>
                  </a:lnTo>
                  <a:lnTo>
                    <a:pt x="224" y="129"/>
                  </a:lnTo>
                  <a:lnTo>
                    <a:pt x="238" y="129"/>
                  </a:lnTo>
                  <a:lnTo>
                    <a:pt x="266" y="133"/>
                  </a:lnTo>
                  <a:lnTo>
                    <a:pt x="289" y="145"/>
                  </a:lnTo>
                  <a:lnTo>
                    <a:pt x="298" y="171"/>
                  </a:lnTo>
                  <a:lnTo>
                    <a:pt x="287" y="202"/>
                  </a:lnTo>
                  <a:lnTo>
                    <a:pt x="261" y="213"/>
                  </a:lnTo>
                  <a:lnTo>
                    <a:pt x="226" y="216"/>
                  </a:lnTo>
                  <a:lnTo>
                    <a:pt x="216" y="216"/>
                  </a:lnTo>
                  <a:lnTo>
                    <a:pt x="195" y="216"/>
                  </a:lnTo>
                  <a:lnTo>
                    <a:pt x="183" y="216"/>
                  </a:lnTo>
                  <a:lnTo>
                    <a:pt x="183" y="129"/>
                  </a:lnTo>
                  <a:close/>
                </a:path>
              </a:pathLst>
            </a:custGeom>
            <a:solidFill>
              <a:srgbClr val="0079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</p:grpSp>
      <p:sp>
        <p:nvSpPr>
          <p:cNvPr id="12" name="Line 2"/>
          <p:cNvSpPr>
            <a:spLocks noChangeShapeType="1"/>
          </p:cNvSpPr>
          <p:nvPr/>
        </p:nvSpPr>
        <p:spPr bwMode="auto">
          <a:xfrm>
            <a:off x="0" y="3429000"/>
            <a:ext cx="9140825" cy="0"/>
          </a:xfrm>
          <a:prstGeom prst="line">
            <a:avLst/>
          </a:prstGeom>
          <a:noFill/>
          <a:ln w="25400">
            <a:solidFill>
              <a:srgbClr val="FAA53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151" name="Rectangle 79"/>
          <p:cNvSpPr>
            <a:spLocks noGrp="1" noChangeArrowheads="1"/>
          </p:cNvSpPr>
          <p:nvPr>
            <p:ph type="subTitle" idx="1"/>
          </p:nvPr>
        </p:nvSpPr>
        <p:spPr>
          <a:xfrm>
            <a:off x="2806700" y="4724400"/>
            <a:ext cx="5867400" cy="762000"/>
          </a:xfrm>
        </p:spPr>
        <p:txBody>
          <a:bodyPr lIns="228600"/>
          <a:lstStyle>
            <a:lvl1pPr algn="r">
              <a:defRPr b="0" cap="all" baseline="0">
                <a:solidFill>
                  <a:srgbClr val="006699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790825" y="3505200"/>
            <a:ext cx="5895975" cy="1046440"/>
          </a:xfrm>
        </p:spPr>
        <p:txBody>
          <a:bodyPr lIns="228557" bIns="0" anchor="t">
            <a:spAutoFit/>
          </a:bodyPr>
          <a:lstStyle>
            <a:lvl1pPr algn="r">
              <a:defRPr sz="3400">
                <a:solidFill>
                  <a:srgbClr val="00669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17911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567621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254656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50950"/>
            <a:ext cx="4038600" cy="467995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9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50950"/>
            <a:ext cx="4038600" cy="467995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9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8927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8214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50916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62501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5"/>
          <p:cNvGrpSpPr>
            <a:grpSpLocks/>
          </p:cNvGrpSpPr>
          <p:nvPr/>
        </p:nvGrpSpPr>
        <p:grpSpPr bwMode="auto">
          <a:xfrm>
            <a:off x="457200" y="2362200"/>
            <a:ext cx="817563" cy="838200"/>
            <a:chOff x="18142" y="955"/>
            <a:chExt cx="2084" cy="2140"/>
          </a:xfrm>
        </p:grpSpPr>
        <p:sp>
          <p:nvSpPr>
            <p:cNvPr id="5" name="Rectangle 56"/>
            <p:cNvSpPr>
              <a:spLocks noChangeArrowheads="1"/>
            </p:cNvSpPr>
            <p:nvPr/>
          </p:nvSpPr>
          <p:spPr bwMode="auto">
            <a:xfrm>
              <a:off x="18142" y="955"/>
              <a:ext cx="1870" cy="214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en-US" sz="1600" dirty="0">
                <a:solidFill>
                  <a:srgbClr val="333333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6" name="Freeform 57"/>
            <p:cNvSpPr>
              <a:spLocks/>
            </p:cNvSpPr>
            <p:nvPr/>
          </p:nvSpPr>
          <p:spPr bwMode="auto">
            <a:xfrm>
              <a:off x="19101" y="2390"/>
              <a:ext cx="397" cy="620"/>
            </a:xfrm>
            <a:custGeom>
              <a:avLst/>
              <a:gdLst>
                <a:gd name="T0" fmla="*/ 1 w 790"/>
                <a:gd name="T1" fmla="*/ 1 h 1238"/>
                <a:gd name="T2" fmla="*/ 0 w 790"/>
                <a:gd name="T3" fmla="*/ 1 h 1238"/>
                <a:gd name="T4" fmla="*/ 1 w 790"/>
                <a:gd name="T5" fmla="*/ 1 h 1238"/>
                <a:gd name="T6" fmla="*/ 1 w 790"/>
                <a:gd name="T7" fmla="*/ 1 h 1238"/>
                <a:gd name="T8" fmla="*/ 1 w 790"/>
                <a:gd name="T9" fmla="*/ 1 h 1238"/>
                <a:gd name="T10" fmla="*/ 1 w 790"/>
                <a:gd name="T11" fmla="*/ 1 h 1238"/>
                <a:gd name="T12" fmla="*/ 1 w 790"/>
                <a:gd name="T13" fmla="*/ 1 h 1238"/>
                <a:gd name="T14" fmla="*/ 1 w 790"/>
                <a:gd name="T15" fmla="*/ 1 h 1238"/>
                <a:gd name="T16" fmla="*/ 1 w 790"/>
                <a:gd name="T17" fmla="*/ 1 h 1238"/>
                <a:gd name="T18" fmla="*/ 1 w 790"/>
                <a:gd name="T19" fmla="*/ 1 h 1238"/>
                <a:gd name="T20" fmla="*/ 1 w 790"/>
                <a:gd name="T21" fmla="*/ 1 h 1238"/>
                <a:gd name="T22" fmla="*/ 1 w 790"/>
                <a:gd name="T23" fmla="*/ 1 h 1238"/>
                <a:gd name="T24" fmla="*/ 1 w 790"/>
                <a:gd name="T25" fmla="*/ 1 h 1238"/>
                <a:gd name="T26" fmla="*/ 1 w 790"/>
                <a:gd name="T27" fmla="*/ 1 h 1238"/>
                <a:gd name="T28" fmla="*/ 1 w 790"/>
                <a:gd name="T29" fmla="*/ 0 h 1238"/>
                <a:gd name="T30" fmla="*/ 1 w 790"/>
                <a:gd name="T31" fmla="*/ 1 h 1238"/>
                <a:gd name="T32" fmla="*/ 1 w 790"/>
                <a:gd name="T33" fmla="*/ 1 h 1238"/>
                <a:gd name="T34" fmla="*/ 1 w 790"/>
                <a:gd name="T35" fmla="*/ 1 h 1238"/>
                <a:gd name="T36" fmla="*/ 1 w 790"/>
                <a:gd name="T37" fmla="*/ 1 h 1238"/>
                <a:gd name="T38" fmla="*/ 1 w 790"/>
                <a:gd name="T39" fmla="*/ 1 h 1238"/>
                <a:gd name="T40" fmla="*/ 1 w 790"/>
                <a:gd name="T41" fmla="*/ 1 h 1238"/>
                <a:gd name="T42" fmla="*/ 1 w 790"/>
                <a:gd name="T43" fmla="*/ 1 h 1238"/>
                <a:gd name="T44" fmla="*/ 1 w 790"/>
                <a:gd name="T45" fmla="*/ 1 h 1238"/>
                <a:gd name="T46" fmla="*/ 1 w 790"/>
                <a:gd name="T47" fmla="*/ 1 h 1238"/>
                <a:gd name="T48" fmla="*/ 1 w 790"/>
                <a:gd name="T49" fmla="*/ 1 h 1238"/>
                <a:gd name="T50" fmla="*/ 1 w 790"/>
                <a:gd name="T51" fmla="*/ 1 h 1238"/>
                <a:gd name="T52" fmla="*/ 1 w 790"/>
                <a:gd name="T53" fmla="*/ 1 h 1238"/>
                <a:gd name="T54" fmla="*/ 1 w 790"/>
                <a:gd name="T55" fmla="*/ 1 h 1238"/>
                <a:gd name="T56" fmla="*/ 1 w 790"/>
                <a:gd name="T57" fmla="*/ 1 h 1238"/>
                <a:gd name="T58" fmla="*/ 1 w 790"/>
                <a:gd name="T59" fmla="*/ 1 h 1238"/>
                <a:gd name="T60" fmla="*/ 1 w 790"/>
                <a:gd name="T61" fmla="*/ 1 h 1238"/>
                <a:gd name="T62" fmla="*/ 1 w 790"/>
                <a:gd name="T63" fmla="*/ 1 h 1238"/>
                <a:gd name="T64" fmla="*/ 1 w 790"/>
                <a:gd name="T65" fmla="*/ 1 h 1238"/>
                <a:gd name="T66" fmla="*/ 1 w 790"/>
                <a:gd name="T67" fmla="*/ 1 h 1238"/>
                <a:gd name="T68" fmla="*/ 1 w 790"/>
                <a:gd name="T69" fmla="*/ 1 h 1238"/>
                <a:gd name="T70" fmla="*/ 1 w 790"/>
                <a:gd name="T71" fmla="*/ 1 h 1238"/>
                <a:gd name="T72" fmla="*/ 1 w 790"/>
                <a:gd name="T73" fmla="*/ 1 h 1238"/>
                <a:gd name="T74" fmla="*/ 1 w 790"/>
                <a:gd name="T75" fmla="*/ 1 h 1238"/>
                <a:gd name="T76" fmla="*/ 1 w 790"/>
                <a:gd name="T77" fmla="*/ 1 h 1238"/>
                <a:gd name="T78" fmla="*/ 1 w 790"/>
                <a:gd name="T79" fmla="*/ 1 h 1238"/>
                <a:gd name="T80" fmla="*/ 1 w 790"/>
                <a:gd name="T81" fmla="*/ 1 h 1238"/>
                <a:gd name="T82" fmla="*/ 1 w 790"/>
                <a:gd name="T83" fmla="*/ 1 h 1238"/>
                <a:gd name="T84" fmla="*/ 1 w 790"/>
                <a:gd name="T85" fmla="*/ 1 h 1238"/>
                <a:gd name="T86" fmla="*/ 1 w 790"/>
                <a:gd name="T87" fmla="*/ 1 h 123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790" h="1238">
                  <a:moveTo>
                    <a:pt x="78" y="1113"/>
                  </a:moveTo>
                  <a:lnTo>
                    <a:pt x="31" y="1021"/>
                  </a:lnTo>
                  <a:lnTo>
                    <a:pt x="7" y="937"/>
                  </a:lnTo>
                  <a:lnTo>
                    <a:pt x="0" y="861"/>
                  </a:lnTo>
                  <a:lnTo>
                    <a:pt x="5" y="794"/>
                  </a:lnTo>
                  <a:lnTo>
                    <a:pt x="23" y="737"/>
                  </a:lnTo>
                  <a:lnTo>
                    <a:pt x="44" y="690"/>
                  </a:lnTo>
                  <a:lnTo>
                    <a:pt x="68" y="652"/>
                  </a:lnTo>
                  <a:lnTo>
                    <a:pt x="91" y="624"/>
                  </a:lnTo>
                  <a:lnTo>
                    <a:pt x="106" y="607"/>
                  </a:lnTo>
                  <a:lnTo>
                    <a:pt x="113" y="601"/>
                  </a:lnTo>
                  <a:lnTo>
                    <a:pt x="134" y="581"/>
                  </a:lnTo>
                  <a:lnTo>
                    <a:pt x="174" y="540"/>
                  </a:lnTo>
                  <a:lnTo>
                    <a:pt x="195" y="520"/>
                  </a:lnTo>
                  <a:lnTo>
                    <a:pt x="143" y="426"/>
                  </a:lnTo>
                  <a:lnTo>
                    <a:pt x="115" y="342"/>
                  </a:lnTo>
                  <a:lnTo>
                    <a:pt x="106" y="271"/>
                  </a:lnTo>
                  <a:lnTo>
                    <a:pt x="111" y="208"/>
                  </a:lnTo>
                  <a:lnTo>
                    <a:pt x="129" y="153"/>
                  </a:lnTo>
                  <a:lnTo>
                    <a:pt x="195" y="64"/>
                  </a:lnTo>
                  <a:lnTo>
                    <a:pt x="275" y="19"/>
                  </a:lnTo>
                  <a:lnTo>
                    <a:pt x="311" y="7"/>
                  </a:lnTo>
                  <a:lnTo>
                    <a:pt x="346" y="1"/>
                  </a:lnTo>
                  <a:lnTo>
                    <a:pt x="428" y="0"/>
                  </a:lnTo>
                  <a:lnTo>
                    <a:pt x="529" y="17"/>
                  </a:lnTo>
                  <a:lnTo>
                    <a:pt x="623" y="73"/>
                  </a:lnTo>
                  <a:lnTo>
                    <a:pt x="640" y="88"/>
                  </a:lnTo>
                  <a:lnTo>
                    <a:pt x="673" y="149"/>
                  </a:lnTo>
                  <a:lnTo>
                    <a:pt x="694" y="276"/>
                  </a:lnTo>
                  <a:lnTo>
                    <a:pt x="694" y="297"/>
                  </a:lnTo>
                  <a:lnTo>
                    <a:pt x="694" y="332"/>
                  </a:lnTo>
                  <a:lnTo>
                    <a:pt x="694" y="353"/>
                  </a:lnTo>
                  <a:lnTo>
                    <a:pt x="463" y="353"/>
                  </a:lnTo>
                  <a:lnTo>
                    <a:pt x="463" y="328"/>
                  </a:lnTo>
                  <a:lnTo>
                    <a:pt x="463" y="283"/>
                  </a:lnTo>
                  <a:lnTo>
                    <a:pt x="463" y="260"/>
                  </a:lnTo>
                  <a:lnTo>
                    <a:pt x="444" y="217"/>
                  </a:lnTo>
                  <a:lnTo>
                    <a:pt x="414" y="201"/>
                  </a:lnTo>
                  <a:lnTo>
                    <a:pt x="398" y="198"/>
                  </a:lnTo>
                  <a:lnTo>
                    <a:pt x="355" y="205"/>
                  </a:lnTo>
                  <a:lnTo>
                    <a:pt x="331" y="234"/>
                  </a:lnTo>
                  <a:lnTo>
                    <a:pt x="324" y="274"/>
                  </a:lnTo>
                  <a:lnTo>
                    <a:pt x="322" y="283"/>
                  </a:lnTo>
                  <a:lnTo>
                    <a:pt x="327" y="314"/>
                  </a:lnTo>
                  <a:lnTo>
                    <a:pt x="358" y="374"/>
                  </a:lnTo>
                  <a:lnTo>
                    <a:pt x="400" y="438"/>
                  </a:lnTo>
                  <a:lnTo>
                    <a:pt x="458" y="521"/>
                  </a:lnTo>
                  <a:lnTo>
                    <a:pt x="518" y="607"/>
                  </a:lnTo>
                  <a:lnTo>
                    <a:pt x="565" y="671"/>
                  </a:lnTo>
                  <a:lnTo>
                    <a:pt x="584" y="697"/>
                  </a:lnTo>
                  <a:lnTo>
                    <a:pt x="584" y="534"/>
                  </a:lnTo>
                  <a:lnTo>
                    <a:pt x="786" y="534"/>
                  </a:lnTo>
                  <a:lnTo>
                    <a:pt x="786" y="554"/>
                  </a:lnTo>
                  <a:lnTo>
                    <a:pt x="786" y="608"/>
                  </a:lnTo>
                  <a:lnTo>
                    <a:pt x="786" y="690"/>
                  </a:lnTo>
                  <a:lnTo>
                    <a:pt x="786" y="786"/>
                  </a:lnTo>
                  <a:lnTo>
                    <a:pt x="786" y="890"/>
                  </a:lnTo>
                  <a:lnTo>
                    <a:pt x="786" y="991"/>
                  </a:lnTo>
                  <a:lnTo>
                    <a:pt x="786" y="1080"/>
                  </a:lnTo>
                  <a:lnTo>
                    <a:pt x="788" y="1148"/>
                  </a:lnTo>
                  <a:lnTo>
                    <a:pt x="788" y="1184"/>
                  </a:lnTo>
                  <a:lnTo>
                    <a:pt x="790" y="1201"/>
                  </a:lnTo>
                  <a:lnTo>
                    <a:pt x="776" y="1229"/>
                  </a:lnTo>
                  <a:lnTo>
                    <a:pt x="722" y="1238"/>
                  </a:lnTo>
                  <a:lnTo>
                    <a:pt x="666" y="1238"/>
                  </a:lnTo>
                  <a:lnTo>
                    <a:pt x="544" y="1238"/>
                  </a:lnTo>
                  <a:lnTo>
                    <a:pt x="423" y="1238"/>
                  </a:lnTo>
                  <a:lnTo>
                    <a:pt x="369" y="1238"/>
                  </a:lnTo>
                  <a:lnTo>
                    <a:pt x="78" y="1113"/>
                  </a:lnTo>
                  <a:close/>
                </a:path>
              </a:pathLst>
            </a:custGeom>
            <a:solidFill>
              <a:srgbClr val="FFA9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7" name="Freeform 58"/>
            <p:cNvSpPr>
              <a:spLocks/>
            </p:cNvSpPr>
            <p:nvPr/>
          </p:nvSpPr>
          <p:spPr bwMode="auto">
            <a:xfrm>
              <a:off x="19222" y="2738"/>
              <a:ext cx="166" cy="170"/>
            </a:xfrm>
            <a:custGeom>
              <a:avLst/>
              <a:gdLst>
                <a:gd name="T0" fmla="*/ 0 w 336"/>
                <a:gd name="T1" fmla="*/ 0 h 343"/>
                <a:gd name="T2" fmla="*/ 0 w 336"/>
                <a:gd name="T3" fmla="*/ 0 h 343"/>
                <a:gd name="T4" fmla="*/ 0 w 336"/>
                <a:gd name="T5" fmla="*/ 0 h 343"/>
                <a:gd name="T6" fmla="*/ 0 w 336"/>
                <a:gd name="T7" fmla="*/ 0 h 343"/>
                <a:gd name="T8" fmla="*/ 0 w 336"/>
                <a:gd name="T9" fmla="*/ 0 h 343"/>
                <a:gd name="T10" fmla="*/ 0 w 336"/>
                <a:gd name="T11" fmla="*/ 0 h 343"/>
                <a:gd name="T12" fmla="*/ 0 w 336"/>
                <a:gd name="T13" fmla="*/ 0 h 343"/>
                <a:gd name="T14" fmla="*/ 0 w 336"/>
                <a:gd name="T15" fmla="*/ 0 h 343"/>
                <a:gd name="T16" fmla="*/ 0 w 336"/>
                <a:gd name="T17" fmla="*/ 0 h 343"/>
                <a:gd name="T18" fmla="*/ 0 w 336"/>
                <a:gd name="T19" fmla="*/ 0 h 343"/>
                <a:gd name="T20" fmla="*/ 0 w 336"/>
                <a:gd name="T21" fmla="*/ 0 h 343"/>
                <a:gd name="T22" fmla="*/ 0 w 336"/>
                <a:gd name="T23" fmla="*/ 0 h 343"/>
                <a:gd name="T24" fmla="*/ 0 w 336"/>
                <a:gd name="T25" fmla="*/ 0 h 343"/>
                <a:gd name="T26" fmla="*/ 0 w 336"/>
                <a:gd name="T27" fmla="*/ 0 h 343"/>
                <a:gd name="T28" fmla="*/ 0 w 336"/>
                <a:gd name="T29" fmla="*/ 0 h 343"/>
                <a:gd name="T30" fmla="*/ 0 w 336"/>
                <a:gd name="T31" fmla="*/ 0 h 343"/>
                <a:gd name="T32" fmla="*/ 0 w 336"/>
                <a:gd name="T33" fmla="*/ 0 h 343"/>
                <a:gd name="T34" fmla="*/ 0 w 336"/>
                <a:gd name="T35" fmla="*/ 0 h 343"/>
                <a:gd name="T36" fmla="*/ 0 w 336"/>
                <a:gd name="T37" fmla="*/ 0 h 343"/>
                <a:gd name="T38" fmla="*/ 0 w 336"/>
                <a:gd name="T39" fmla="*/ 0 h 343"/>
                <a:gd name="T40" fmla="*/ 0 w 336"/>
                <a:gd name="T41" fmla="*/ 0 h 343"/>
                <a:gd name="T42" fmla="*/ 0 w 336"/>
                <a:gd name="T43" fmla="*/ 0 h 34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336" h="343">
                  <a:moveTo>
                    <a:pt x="333" y="343"/>
                  </a:moveTo>
                  <a:lnTo>
                    <a:pt x="336" y="325"/>
                  </a:lnTo>
                  <a:lnTo>
                    <a:pt x="308" y="292"/>
                  </a:lnTo>
                  <a:lnTo>
                    <a:pt x="239" y="211"/>
                  </a:lnTo>
                  <a:lnTo>
                    <a:pt x="157" y="115"/>
                  </a:lnTo>
                  <a:lnTo>
                    <a:pt x="89" y="35"/>
                  </a:lnTo>
                  <a:lnTo>
                    <a:pt x="60" y="0"/>
                  </a:lnTo>
                  <a:lnTo>
                    <a:pt x="30" y="37"/>
                  </a:lnTo>
                  <a:lnTo>
                    <a:pt x="4" y="104"/>
                  </a:lnTo>
                  <a:lnTo>
                    <a:pt x="0" y="191"/>
                  </a:lnTo>
                  <a:lnTo>
                    <a:pt x="39" y="285"/>
                  </a:lnTo>
                  <a:lnTo>
                    <a:pt x="60" y="303"/>
                  </a:lnTo>
                  <a:lnTo>
                    <a:pt x="119" y="332"/>
                  </a:lnTo>
                  <a:lnTo>
                    <a:pt x="211" y="343"/>
                  </a:lnTo>
                  <a:lnTo>
                    <a:pt x="242" y="343"/>
                  </a:lnTo>
                  <a:lnTo>
                    <a:pt x="301" y="343"/>
                  </a:lnTo>
                  <a:lnTo>
                    <a:pt x="333" y="34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59"/>
            <p:cNvSpPr>
              <a:spLocks/>
            </p:cNvSpPr>
            <p:nvPr/>
          </p:nvSpPr>
          <p:spPr bwMode="auto">
            <a:xfrm>
              <a:off x="19538" y="1036"/>
              <a:ext cx="393" cy="1982"/>
            </a:xfrm>
            <a:custGeom>
              <a:avLst/>
              <a:gdLst>
                <a:gd name="T0" fmla="*/ 0 w 785"/>
                <a:gd name="T1" fmla="*/ 0 h 3959"/>
                <a:gd name="T2" fmla="*/ 0 w 785"/>
                <a:gd name="T3" fmla="*/ 1 h 3959"/>
                <a:gd name="T4" fmla="*/ 1 w 785"/>
                <a:gd name="T5" fmla="*/ 1 h 3959"/>
                <a:gd name="T6" fmla="*/ 1 w 785"/>
                <a:gd name="T7" fmla="*/ 1 h 3959"/>
                <a:gd name="T8" fmla="*/ 1 w 785"/>
                <a:gd name="T9" fmla="*/ 1 h 3959"/>
                <a:gd name="T10" fmla="*/ 1 w 785"/>
                <a:gd name="T11" fmla="*/ 1 h 3959"/>
                <a:gd name="T12" fmla="*/ 1 w 785"/>
                <a:gd name="T13" fmla="*/ 1 h 3959"/>
                <a:gd name="T14" fmla="*/ 1 w 785"/>
                <a:gd name="T15" fmla="*/ 1 h 3959"/>
                <a:gd name="T16" fmla="*/ 1 w 785"/>
                <a:gd name="T17" fmla="*/ 1 h 3959"/>
                <a:gd name="T18" fmla="*/ 1 w 785"/>
                <a:gd name="T19" fmla="*/ 1 h 3959"/>
                <a:gd name="T20" fmla="*/ 1 w 785"/>
                <a:gd name="T21" fmla="*/ 1 h 3959"/>
                <a:gd name="T22" fmla="*/ 1 w 785"/>
                <a:gd name="T23" fmla="*/ 1 h 3959"/>
                <a:gd name="T24" fmla="*/ 1 w 785"/>
                <a:gd name="T25" fmla="*/ 1 h 3959"/>
                <a:gd name="T26" fmla="*/ 1 w 785"/>
                <a:gd name="T27" fmla="*/ 1 h 3959"/>
                <a:gd name="T28" fmla="*/ 1 w 785"/>
                <a:gd name="T29" fmla="*/ 1 h 3959"/>
                <a:gd name="T30" fmla="*/ 1 w 785"/>
                <a:gd name="T31" fmla="*/ 0 h 3959"/>
                <a:gd name="T32" fmla="*/ 0 w 785"/>
                <a:gd name="T33" fmla="*/ 0 h 39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785" h="3959">
                  <a:moveTo>
                    <a:pt x="0" y="0"/>
                  </a:moveTo>
                  <a:lnTo>
                    <a:pt x="0" y="3959"/>
                  </a:lnTo>
                  <a:lnTo>
                    <a:pt x="49" y="3959"/>
                  </a:lnTo>
                  <a:lnTo>
                    <a:pt x="49" y="2454"/>
                  </a:lnTo>
                  <a:lnTo>
                    <a:pt x="696" y="2454"/>
                  </a:lnTo>
                  <a:lnTo>
                    <a:pt x="696" y="2720"/>
                  </a:lnTo>
                  <a:lnTo>
                    <a:pt x="369" y="2720"/>
                  </a:lnTo>
                  <a:lnTo>
                    <a:pt x="369" y="3056"/>
                  </a:lnTo>
                  <a:lnTo>
                    <a:pt x="696" y="3056"/>
                  </a:lnTo>
                  <a:lnTo>
                    <a:pt x="696" y="3322"/>
                  </a:lnTo>
                  <a:lnTo>
                    <a:pt x="369" y="3322"/>
                  </a:lnTo>
                  <a:lnTo>
                    <a:pt x="369" y="3684"/>
                  </a:lnTo>
                  <a:lnTo>
                    <a:pt x="696" y="3684"/>
                  </a:lnTo>
                  <a:lnTo>
                    <a:pt x="696" y="3945"/>
                  </a:lnTo>
                  <a:lnTo>
                    <a:pt x="785" y="3945"/>
                  </a:lnTo>
                  <a:lnTo>
                    <a:pt x="78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9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0"/>
            <p:cNvSpPr>
              <a:spLocks/>
            </p:cNvSpPr>
            <p:nvPr/>
          </p:nvSpPr>
          <p:spPr bwMode="auto">
            <a:xfrm>
              <a:off x="18421" y="2398"/>
              <a:ext cx="77" cy="219"/>
            </a:xfrm>
            <a:custGeom>
              <a:avLst/>
              <a:gdLst>
                <a:gd name="T0" fmla="*/ 0 w 152"/>
                <a:gd name="T1" fmla="*/ 0 h 435"/>
                <a:gd name="T2" fmla="*/ 0 w 152"/>
                <a:gd name="T3" fmla="*/ 1 h 435"/>
                <a:gd name="T4" fmla="*/ 0 w 152"/>
                <a:gd name="T5" fmla="*/ 1 h 435"/>
                <a:gd name="T6" fmla="*/ 0 w 152"/>
                <a:gd name="T7" fmla="*/ 1 h 435"/>
                <a:gd name="T8" fmla="*/ 0 w 152"/>
                <a:gd name="T9" fmla="*/ 1 h 435"/>
                <a:gd name="T10" fmla="*/ 0 w 152"/>
                <a:gd name="T11" fmla="*/ 1 h 435"/>
                <a:gd name="T12" fmla="*/ 0 w 152"/>
                <a:gd name="T13" fmla="*/ 1 h 435"/>
                <a:gd name="T14" fmla="*/ 0 w 152"/>
                <a:gd name="T15" fmla="*/ 1 h 435"/>
                <a:gd name="T16" fmla="*/ 1 w 152"/>
                <a:gd name="T17" fmla="*/ 1 h 435"/>
                <a:gd name="T18" fmla="*/ 1 w 152"/>
                <a:gd name="T19" fmla="*/ 1 h 435"/>
                <a:gd name="T20" fmla="*/ 1 w 152"/>
                <a:gd name="T21" fmla="*/ 1 h 435"/>
                <a:gd name="T22" fmla="*/ 1 w 152"/>
                <a:gd name="T23" fmla="*/ 1 h 435"/>
                <a:gd name="T24" fmla="*/ 1 w 152"/>
                <a:gd name="T25" fmla="*/ 1 h 435"/>
                <a:gd name="T26" fmla="*/ 1 w 152"/>
                <a:gd name="T27" fmla="*/ 1 h 435"/>
                <a:gd name="T28" fmla="*/ 1 w 152"/>
                <a:gd name="T29" fmla="*/ 1 h 435"/>
                <a:gd name="T30" fmla="*/ 1 w 152"/>
                <a:gd name="T31" fmla="*/ 1 h 435"/>
                <a:gd name="T32" fmla="*/ 1 w 152"/>
                <a:gd name="T33" fmla="*/ 1 h 435"/>
                <a:gd name="T34" fmla="*/ 1 w 152"/>
                <a:gd name="T35" fmla="*/ 1 h 435"/>
                <a:gd name="T36" fmla="*/ 0 w 152"/>
                <a:gd name="T37" fmla="*/ 0 h 435"/>
                <a:gd name="T38" fmla="*/ 0 w 152"/>
                <a:gd name="T39" fmla="*/ 0 h 43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2" h="435">
                  <a:moveTo>
                    <a:pt x="0" y="0"/>
                  </a:moveTo>
                  <a:lnTo>
                    <a:pt x="0" y="34"/>
                  </a:lnTo>
                  <a:lnTo>
                    <a:pt x="0" y="114"/>
                  </a:lnTo>
                  <a:lnTo>
                    <a:pt x="0" y="218"/>
                  </a:lnTo>
                  <a:lnTo>
                    <a:pt x="0" y="322"/>
                  </a:lnTo>
                  <a:lnTo>
                    <a:pt x="0" y="402"/>
                  </a:lnTo>
                  <a:lnTo>
                    <a:pt x="0" y="435"/>
                  </a:lnTo>
                  <a:lnTo>
                    <a:pt x="75" y="423"/>
                  </a:lnTo>
                  <a:lnTo>
                    <a:pt x="124" y="371"/>
                  </a:lnTo>
                  <a:lnTo>
                    <a:pt x="146" y="298"/>
                  </a:lnTo>
                  <a:lnTo>
                    <a:pt x="152" y="221"/>
                  </a:lnTo>
                  <a:lnTo>
                    <a:pt x="150" y="157"/>
                  </a:lnTo>
                  <a:lnTo>
                    <a:pt x="143" y="110"/>
                  </a:lnTo>
                  <a:lnTo>
                    <a:pt x="126" y="63"/>
                  </a:lnTo>
                  <a:lnTo>
                    <a:pt x="80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9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1"/>
            <p:cNvSpPr>
              <a:spLocks/>
            </p:cNvSpPr>
            <p:nvPr/>
          </p:nvSpPr>
          <p:spPr bwMode="auto">
            <a:xfrm>
              <a:off x="18223" y="1036"/>
              <a:ext cx="1307" cy="1982"/>
            </a:xfrm>
            <a:custGeom>
              <a:avLst/>
              <a:gdLst>
                <a:gd name="T0" fmla="*/ 0 w 2616"/>
                <a:gd name="T1" fmla="*/ 0 h 3962"/>
                <a:gd name="T2" fmla="*/ 0 w 2616"/>
                <a:gd name="T3" fmla="*/ 1 h 3962"/>
                <a:gd name="T4" fmla="*/ 0 w 2616"/>
                <a:gd name="T5" fmla="*/ 1 h 3962"/>
                <a:gd name="T6" fmla="*/ 0 w 2616"/>
                <a:gd name="T7" fmla="*/ 1 h 3962"/>
                <a:gd name="T8" fmla="*/ 0 w 2616"/>
                <a:gd name="T9" fmla="*/ 1 h 3962"/>
                <a:gd name="T10" fmla="*/ 0 w 2616"/>
                <a:gd name="T11" fmla="*/ 1 h 3962"/>
                <a:gd name="T12" fmla="*/ 0 w 2616"/>
                <a:gd name="T13" fmla="*/ 1 h 3962"/>
                <a:gd name="T14" fmla="*/ 0 w 2616"/>
                <a:gd name="T15" fmla="*/ 1 h 3962"/>
                <a:gd name="T16" fmla="*/ 0 w 2616"/>
                <a:gd name="T17" fmla="*/ 1 h 3962"/>
                <a:gd name="T18" fmla="*/ 0 w 2616"/>
                <a:gd name="T19" fmla="*/ 1 h 3962"/>
                <a:gd name="T20" fmla="*/ 0 w 2616"/>
                <a:gd name="T21" fmla="*/ 1 h 3962"/>
                <a:gd name="T22" fmla="*/ 0 w 2616"/>
                <a:gd name="T23" fmla="*/ 1 h 3962"/>
                <a:gd name="T24" fmla="*/ 0 w 2616"/>
                <a:gd name="T25" fmla="*/ 1 h 3962"/>
                <a:gd name="T26" fmla="*/ 0 w 2616"/>
                <a:gd name="T27" fmla="*/ 1 h 3962"/>
                <a:gd name="T28" fmla="*/ 0 w 2616"/>
                <a:gd name="T29" fmla="*/ 1 h 3962"/>
                <a:gd name="T30" fmla="*/ 0 w 2616"/>
                <a:gd name="T31" fmla="*/ 1 h 3962"/>
                <a:gd name="T32" fmla="*/ 0 w 2616"/>
                <a:gd name="T33" fmla="*/ 1 h 3962"/>
                <a:gd name="T34" fmla="*/ 0 w 2616"/>
                <a:gd name="T35" fmla="*/ 1 h 3962"/>
                <a:gd name="T36" fmla="*/ 0 w 2616"/>
                <a:gd name="T37" fmla="*/ 1 h 3962"/>
                <a:gd name="T38" fmla="*/ 0 w 2616"/>
                <a:gd name="T39" fmla="*/ 1 h 3962"/>
                <a:gd name="T40" fmla="*/ 0 w 2616"/>
                <a:gd name="T41" fmla="*/ 1 h 3962"/>
                <a:gd name="T42" fmla="*/ 0 w 2616"/>
                <a:gd name="T43" fmla="*/ 1 h 3962"/>
                <a:gd name="T44" fmla="*/ 0 w 2616"/>
                <a:gd name="T45" fmla="*/ 1 h 3962"/>
                <a:gd name="T46" fmla="*/ 0 w 2616"/>
                <a:gd name="T47" fmla="*/ 1 h 3962"/>
                <a:gd name="T48" fmla="*/ 0 w 2616"/>
                <a:gd name="T49" fmla="*/ 1 h 3962"/>
                <a:gd name="T50" fmla="*/ 0 w 2616"/>
                <a:gd name="T51" fmla="*/ 1 h 3962"/>
                <a:gd name="T52" fmla="*/ 0 w 2616"/>
                <a:gd name="T53" fmla="*/ 1 h 3962"/>
                <a:gd name="T54" fmla="*/ 0 w 2616"/>
                <a:gd name="T55" fmla="*/ 1 h 3962"/>
                <a:gd name="T56" fmla="*/ 0 w 2616"/>
                <a:gd name="T57" fmla="*/ 1 h 3962"/>
                <a:gd name="T58" fmla="*/ 0 w 2616"/>
                <a:gd name="T59" fmla="*/ 1 h 3962"/>
                <a:gd name="T60" fmla="*/ 0 w 2616"/>
                <a:gd name="T61" fmla="*/ 1 h 3962"/>
                <a:gd name="T62" fmla="*/ 0 w 2616"/>
                <a:gd name="T63" fmla="*/ 1 h 3962"/>
                <a:gd name="T64" fmla="*/ 0 w 2616"/>
                <a:gd name="T65" fmla="*/ 1 h 3962"/>
                <a:gd name="T66" fmla="*/ 0 w 2616"/>
                <a:gd name="T67" fmla="*/ 1 h 3962"/>
                <a:gd name="T68" fmla="*/ 0 w 2616"/>
                <a:gd name="T69" fmla="*/ 1 h 3962"/>
                <a:gd name="T70" fmla="*/ 0 w 2616"/>
                <a:gd name="T71" fmla="*/ 1 h 3962"/>
                <a:gd name="T72" fmla="*/ 0 w 2616"/>
                <a:gd name="T73" fmla="*/ 1 h 3962"/>
                <a:gd name="T74" fmla="*/ 0 w 2616"/>
                <a:gd name="T75" fmla="*/ 1 h 3962"/>
                <a:gd name="T76" fmla="*/ 0 w 2616"/>
                <a:gd name="T77" fmla="*/ 1 h 3962"/>
                <a:gd name="T78" fmla="*/ 0 w 2616"/>
                <a:gd name="T79" fmla="*/ 1 h 3962"/>
                <a:gd name="T80" fmla="*/ 0 w 2616"/>
                <a:gd name="T81" fmla="*/ 1 h 3962"/>
                <a:gd name="T82" fmla="*/ 0 w 2616"/>
                <a:gd name="T83" fmla="*/ 1 h 3962"/>
                <a:gd name="T84" fmla="*/ 0 w 2616"/>
                <a:gd name="T85" fmla="*/ 1 h 396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616" h="3962">
                  <a:moveTo>
                    <a:pt x="1638" y="3482"/>
                  </a:moveTo>
                  <a:lnTo>
                    <a:pt x="2616" y="0"/>
                  </a:lnTo>
                  <a:lnTo>
                    <a:pt x="3" y="0"/>
                  </a:lnTo>
                  <a:lnTo>
                    <a:pt x="0" y="3962"/>
                  </a:lnTo>
                  <a:lnTo>
                    <a:pt x="96" y="3962"/>
                  </a:lnTo>
                  <a:lnTo>
                    <a:pt x="96" y="2447"/>
                  </a:lnTo>
                  <a:lnTo>
                    <a:pt x="405" y="2447"/>
                  </a:lnTo>
                  <a:lnTo>
                    <a:pt x="421" y="2447"/>
                  </a:lnTo>
                  <a:lnTo>
                    <a:pt x="466" y="2449"/>
                  </a:lnTo>
                  <a:lnTo>
                    <a:pt x="529" y="2458"/>
                  </a:lnTo>
                  <a:lnTo>
                    <a:pt x="602" y="2477"/>
                  </a:lnTo>
                  <a:lnTo>
                    <a:pt x="678" y="2513"/>
                  </a:lnTo>
                  <a:lnTo>
                    <a:pt x="748" y="2573"/>
                  </a:lnTo>
                  <a:lnTo>
                    <a:pt x="804" y="2656"/>
                  </a:lnTo>
                  <a:lnTo>
                    <a:pt x="828" y="2719"/>
                  </a:lnTo>
                  <a:lnTo>
                    <a:pt x="842" y="2790"/>
                  </a:lnTo>
                  <a:lnTo>
                    <a:pt x="850" y="2898"/>
                  </a:lnTo>
                  <a:lnTo>
                    <a:pt x="850" y="3002"/>
                  </a:lnTo>
                  <a:lnTo>
                    <a:pt x="842" y="3098"/>
                  </a:lnTo>
                  <a:lnTo>
                    <a:pt x="828" y="3171"/>
                  </a:lnTo>
                  <a:lnTo>
                    <a:pt x="817" y="3206"/>
                  </a:lnTo>
                  <a:lnTo>
                    <a:pt x="805" y="3228"/>
                  </a:lnTo>
                  <a:lnTo>
                    <a:pt x="779" y="3270"/>
                  </a:lnTo>
                  <a:lnTo>
                    <a:pt x="736" y="3322"/>
                  </a:lnTo>
                  <a:lnTo>
                    <a:pt x="675" y="3373"/>
                  </a:lnTo>
                  <a:lnTo>
                    <a:pt x="597" y="3408"/>
                  </a:lnTo>
                  <a:lnTo>
                    <a:pt x="496" y="3418"/>
                  </a:lnTo>
                  <a:lnTo>
                    <a:pt x="470" y="3418"/>
                  </a:lnTo>
                  <a:lnTo>
                    <a:pt x="421" y="3416"/>
                  </a:lnTo>
                  <a:lnTo>
                    <a:pt x="395" y="3414"/>
                  </a:lnTo>
                  <a:lnTo>
                    <a:pt x="395" y="3948"/>
                  </a:lnTo>
                  <a:lnTo>
                    <a:pt x="1117" y="3948"/>
                  </a:lnTo>
                  <a:lnTo>
                    <a:pt x="1104" y="3945"/>
                  </a:lnTo>
                  <a:lnTo>
                    <a:pt x="1073" y="3931"/>
                  </a:lnTo>
                  <a:lnTo>
                    <a:pt x="1031" y="3907"/>
                  </a:lnTo>
                  <a:lnTo>
                    <a:pt x="984" y="3867"/>
                  </a:lnTo>
                  <a:lnTo>
                    <a:pt x="943" y="3808"/>
                  </a:lnTo>
                  <a:lnTo>
                    <a:pt x="911" y="3728"/>
                  </a:lnTo>
                  <a:lnTo>
                    <a:pt x="899" y="3623"/>
                  </a:lnTo>
                  <a:lnTo>
                    <a:pt x="899" y="3609"/>
                  </a:lnTo>
                  <a:lnTo>
                    <a:pt x="899" y="3569"/>
                  </a:lnTo>
                  <a:lnTo>
                    <a:pt x="899" y="3507"/>
                  </a:lnTo>
                  <a:lnTo>
                    <a:pt x="899" y="3428"/>
                  </a:lnTo>
                  <a:lnTo>
                    <a:pt x="899" y="3340"/>
                  </a:lnTo>
                  <a:lnTo>
                    <a:pt x="899" y="3242"/>
                  </a:lnTo>
                  <a:lnTo>
                    <a:pt x="899" y="3143"/>
                  </a:lnTo>
                  <a:lnTo>
                    <a:pt x="899" y="3046"/>
                  </a:lnTo>
                  <a:lnTo>
                    <a:pt x="899" y="2957"/>
                  </a:lnTo>
                  <a:lnTo>
                    <a:pt x="899" y="2879"/>
                  </a:lnTo>
                  <a:lnTo>
                    <a:pt x="899" y="2816"/>
                  </a:lnTo>
                  <a:lnTo>
                    <a:pt x="899" y="2776"/>
                  </a:lnTo>
                  <a:lnTo>
                    <a:pt x="899" y="2762"/>
                  </a:lnTo>
                  <a:lnTo>
                    <a:pt x="897" y="2747"/>
                  </a:lnTo>
                  <a:lnTo>
                    <a:pt x="899" y="2708"/>
                  </a:lnTo>
                  <a:lnTo>
                    <a:pt x="908" y="2654"/>
                  </a:lnTo>
                  <a:lnTo>
                    <a:pt x="929" y="2593"/>
                  </a:lnTo>
                  <a:lnTo>
                    <a:pt x="969" y="2531"/>
                  </a:lnTo>
                  <a:lnTo>
                    <a:pt x="1033" y="2477"/>
                  </a:lnTo>
                  <a:lnTo>
                    <a:pt x="1127" y="2440"/>
                  </a:lnTo>
                  <a:lnTo>
                    <a:pt x="1139" y="2437"/>
                  </a:lnTo>
                  <a:lnTo>
                    <a:pt x="1172" y="2428"/>
                  </a:lnTo>
                  <a:lnTo>
                    <a:pt x="1223" y="2421"/>
                  </a:lnTo>
                  <a:lnTo>
                    <a:pt x="1285" y="2418"/>
                  </a:lnTo>
                  <a:lnTo>
                    <a:pt x="1355" y="2425"/>
                  </a:lnTo>
                  <a:lnTo>
                    <a:pt x="1426" y="2446"/>
                  </a:lnTo>
                  <a:lnTo>
                    <a:pt x="1494" y="2486"/>
                  </a:lnTo>
                  <a:lnTo>
                    <a:pt x="1557" y="2550"/>
                  </a:lnTo>
                  <a:lnTo>
                    <a:pt x="1565" y="2559"/>
                  </a:lnTo>
                  <a:lnTo>
                    <a:pt x="1588" y="2592"/>
                  </a:lnTo>
                  <a:lnTo>
                    <a:pt x="1612" y="2654"/>
                  </a:lnTo>
                  <a:lnTo>
                    <a:pt x="1628" y="2755"/>
                  </a:lnTo>
                  <a:lnTo>
                    <a:pt x="1624" y="2898"/>
                  </a:lnTo>
                  <a:lnTo>
                    <a:pt x="1550" y="2898"/>
                  </a:lnTo>
                  <a:lnTo>
                    <a:pt x="1411" y="2896"/>
                  </a:lnTo>
                  <a:lnTo>
                    <a:pt x="1334" y="2894"/>
                  </a:lnTo>
                  <a:lnTo>
                    <a:pt x="1334" y="2755"/>
                  </a:lnTo>
                  <a:lnTo>
                    <a:pt x="1331" y="2738"/>
                  </a:lnTo>
                  <a:lnTo>
                    <a:pt x="1311" y="2705"/>
                  </a:lnTo>
                  <a:lnTo>
                    <a:pt x="1266" y="2687"/>
                  </a:lnTo>
                  <a:lnTo>
                    <a:pt x="1221" y="2701"/>
                  </a:lnTo>
                  <a:lnTo>
                    <a:pt x="1204" y="2733"/>
                  </a:lnTo>
                  <a:lnTo>
                    <a:pt x="1200" y="2776"/>
                  </a:lnTo>
                  <a:lnTo>
                    <a:pt x="1200" y="2792"/>
                  </a:lnTo>
                  <a:lnTo>
                    <a:pt x="1200" y="2839"/>
                  </a:lnTo>
                  <a:lnTo>
                    <a:pt x="1200" y="2908"/>
                  </a:lnTo>
                  <a:lnTo>
                    <a:pt x="1200" y="2997"/>
                  </a:lnTo>
                  <a:lnTo>
                    <a:pt x="1200" y="3096"/>
                  </a:lnTo>
                  <a:lnTo>
                    <a:pt x="1200" y="3202"/>
                  </a:lnTo>
                  <a:lnTo>
                    <a:pt x="1200" y="3308"/>
                  </a:lnTo>
                  <a:lnTo>
                    <a:pt x="1200" y="3409"/>
                  </a:lnTo>
                  <a:lnTo>
                    <a:pt x="1200" y="3496"/>
                  </a:lnTo>
                  <a:lnTo>
                    <a:pt x="1200" y="3568"/>
                  </a:lnTo>
                  <a:lnTo>
                    <a:pt x="1200" y="3613"/>
                  </a:lnTo>
                  <a:lnTo>
                    <a:pt x="1200" y="3630"/>
                  </a:lnTo>
                  <a:lnTo>
                    <a:pt x="1202" y="3649"/>
                  </a:lnTo>
                  <a:lnTo>
                    <a:pt x="1216" y="3688"/>
                  </a:lnTo>
                  <a:lnTo>
                    <a:pt x="1263" y="3717"/>
                  </a:lnTo>
                  <a:lnTo>
                    <a:pt x="1303" y="3714"/>
                  </a:lnTo>
                  <a:lnTo>
                    <a:pt x="1336" y="3688"/>
                  </a:lnTo>
                  <a:lnTo>
                    <a:pt x="1350" y="3642"/>
                  </a:lnTo>
                  <a:lnTo>
                    <a:pt x="1350" y="3576"/>
                  </a:lnTo>
                  <a:lnTo>
                    <a:pt x="1350" y="3456"/>
                  </a:lnTo>
                  <a:lnTo>
                    <a:pt x="1350" y="3390"/>
                  </a:lnTo>
                  <a:lnTo>
                    <a:pt x="1268" y="3390"/>
                  </a:lnTo>
                  <a:lnTo>
                    <a:pt x="1268" y="3127"/>
                  </a:lnTo>
                  <a:lnTo>
                    <a:pt x="1638" y="3127"/>
                  </a:lnTo>
                  <a:lnTo>
                    <a:pt x="1638" y="3482"/>
                  </a:lnTo>
                  <a:lnTo>
                    <a:pt x="1649" y="3482"/>
                  </a:lnTo>
                  <a:lnTo>
                    <a:pt x="1638" y="3482"/>
                  </a:lnTo>
                  <a:close/>
                </a:path>
              </a:pathLst>
            </a:custGeom>
            <a:solidFill>
              <a:srgbClr val="0079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1" name="Freeform 62"/>
            <p:cNvSpPr>
              <a:spLocks noEditPoints="1"/>
            </p:cNvSpPr>
            <p:nvPr/>
          </p:nvSpPr>
          <p:spPr bwMode="auto">
            <a:xfrm>
              <a:off x="19995" y="1044"/>
              <a:ext cx="231" cy="231"/>
            </a:xfrm>
            <a:custGeom>
              <a:avLst/>
              <a:gdLst>
                <a:gd name="T0" fmla="*/ 1 w 461"/>
                <a:gd name="T1" fmla="*/ 1 h 460"/>
                <a:gd name="T2" fmla="*/ 1 w 461"/>
                <a:gd name="T3" fmla="*/ 1 h 460"/>
                <a:gd name="T4" fmla="*/ 1 w 461"/>
                <a:gd name="T5" fmla="*/ 1 h 460"/>
                <a:gd name="T6" fmla="*/ 1 w 461"/>
                <a:gd name="T7" fmla="*/ 1 h 460"/>
                <a:gd name="T8" fmla="*/ 1 w 461"/>
                <a:gd name="T9" fmla="*/ 1 h 460"/>
                <a:gd name="T10" fmla="*/ 1 w 461"/>
                <a:gd name="T11" fmla="*/ 1 h 460"/>
                <a:gd name="T12" fmla="*/ 1 w 461"/>
                <a:gd name="T13" fmla="*/ 1 h 460"/>
                <a:gd name="T14" fmla="*/ 1 w 461"/>
                <a:gd name="T15" fmla="*/ 1 h 460"/>
                <a:gd name="T16" fmla="*/ 1 w 461"/>
                <a:gd name="T17" fmla="*/ 1 h 460"/>
                <a:gd name="T18" fmla="*/ 1 w 461"/>
                <a:gd name="T19" fmla="*/ 1 h 460"/>
                <a:gd name="T20" fmla="*/ 0 w 461"/>
                <a:gd name="T21" fmla="*/ 1 h 460"/>
                <a:gd name="T22" fmla="*/ 1 w 461"/>
                <a:gd name="T23" fmla="*/ 1 h 460"/>
                <a:gd name="T24" fmla="*/ 1 w 461"/>
                <a:gd name="T25" fmla="*/ 1 h 460"/>
                <a:gd name="T26" fmla="*/ 1 w 461"/>
                <a:gd name="T27" fmla="*/ 1 h 460"/>
                <a:gd name="T28" fmla="*/ 1 w 461"/>
                <a:gd name="T29" fmla="*/ 1 h 460"/>
                <a:gd name="T30" fmla="*/ 1 w 461"/>
                <a:gd name="T31" fmla="*/ 1 h 460"/>
                <a:gd name="T32" fmla="*/ 1 w 461"/>
                <a:gd name="T33" fmla="*/ 1 h 460"/>
                <a:gd name="T34" fmla="*/ 1 w 461"/>
                <a:gd name="T35" fmla="*/ 1 h 460"/>
                <a:gd name="T36" fmla="*/ 1 w 461"/>
                <a:gd name="T37" fmla="*/ 1 h 460"/>
                <a:gd name="T38" fmla="*/ 1 w 461"/>
                <a:gd name="T39" fmla="*/ 0 h 460"/>
                <a:gd name="T40" fmla="*/ 1 w 461"/>
                <a:gd name="T41" fmla="*/ 1 h 460"/>
                <a:gd name="T42" fmla="*/ 1 w 461"/>
                <a:gd name="T43" fmla="*/ 1 h 460"/>
                <a:gd name="T44" fmla="*/ 0 w 461"/>
                <a:gd name="T45" fmla="*/ 1 h 460"/>
                <a:gd name="T46" fmla="*/ 1 w 461"/>
                <a:gd name="T47" fmla="*/ 1 h 460"/>
                <a:gd name="T48" fmla="*/ 1 w 461"/>
                <a:gd name="T49" fmla="*/ 1 h 460"/>
                <a:gd name="T50" fmla="*/ 1 w 461"/>
                <a:gd name="T51" fmla="*/ 1 h 460"/>
                <a:gd name="T52" fmla="*/ 1 w 461"/>
                <a:gd name="T53" fmla="*/ 1 h 460"/>
                <a:gd name="T54" fmla="*/ 1 w 461"/>
                <a:gd name="T55" fmla="*/ 1 h 460"/>
                <a:gd name="T56" fmla="*/ 1 w 461"/>
                <a:gd name="T57" fmla="*/ 1 h 460"/>
                <a:gd name="T58" fmla="*/ 1 w 461"/>
                <a:gd name="T59" fmla="*/ 1 h 460"/>
                <a:gd name="T60" fmla="*/ 1 w 461"/>
                <a:gd name="T61" fmla="*/ 1 h 460"/>
                <a:gd name="T62" fmla="*/ 1 w 461"/>
                <a:gd name="T63" fmla="*/ 1 h 460"/>
                <a:gd name="T64" fmla="*/ 1 w 461"/>
                <a:gd name="T65" fmla="*/ 1 h 460"/>
                <a:gd name="T66" fmla="*/ 1 w 461"/>
                <a:gd name="T67" fmla="*/ 1 h 460"/>
                <a:gd name="T68" fmla="*/ 1 w 461"/>
                <a:gd name="T69" fmla="*/ 1 h 460"/>
                <a:gd name="T70" fmla="*/ 1 w 461"/>
                <a:gd name="T71" fmla="*/ 1 h 460"/>
                <a:gd name="T72" fmla="*/ 1 w 461"/>
                <a:gd name="T73" fmla="*/ 1 h 460"/>
                <a:gd name="T74" fmla="*/ 1 w 461"/>
                <a:gd name="T75" fmla="*/ 1 h 460"/>
                <a:gd name="T76" fmla="*/ 1 w 461"/>
                <a:gd name="T77" fmla="*/ 1 h 460"/>
                <a:gd name="T78" fmla="*/ 1 w 461"/>
                <a:gd name="T79" fmla="*/ 1 h 460"/>
                <a:gd name="T80" fmla="*/ 1 w 461"/>
                <a:gd name="T81" fmla="*/ 1 h 460"/>
                <a:gd name="T82" fmla="*/ 1 w 461"/>
                <a:gd name="T83" fmla="*/ 1 h 460"/>
                <a:gd name="T84" fmla="*/ 1 w 461"/>
                <a:gd name="T85" fmla="*/ 1 h 460"/>
                <a:gd name="T86" fmla="*/ 1 w 461"/>
                <a:gd name="T87" fmla="*/ 1 h 46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61" h="460">
                  <a:moveTo>
                    <a:pt x="42" y="228"/>
                  </a:moveTo>
                  <a:lnTo>
                    <a:pt x="56" y="153"/>
                  </a:lnTo>
                  <a:lnTo>
                    <a:pt x="96" y="91"/>
                  </a:lnTo>
                  <a:lnTo>
                    <a:pt x="157" y="49"/>
                  </a:lnTo>
                  <a:lnTo>
                    <a:pt x="231" y="35"/>
                  </a:lnTo>
                  <a:lnTo>
                    <a:pt x="306" y="49"/>
                  </a:lnTo>
                  <a:lnTo>
                    <a:pt x="365" y="91"/>
                  </a:lnTo>
                  <a:lnTo>
                    <a:pt x="405" y="153"/>
                  </a:lnTo>
                  <a:lnTo>
                    <a:pt x="419" y="228"/>
                  </a:lnTo>
                  <a:lnTo>
                    <a:pt x="405" y="306"/>
                  </a:lnTo>
                  <a:lnTo>
                    <a:pt x="365" y="369"/>
                  </a:lnTo>
                  <a:lnTo>
                    <a:pt x="306" y="411"/>
                  </a:lnTo>
                  <a:lnTo>
                    <a:pt x="231" y="425"/>
                  </a:lnTo>
                  <a:lnTo>
                    <a:pt x="157" y="411"/>
                  </a:lnTo>
                  <a:lnTo>
                    <a:pt x="96" y="369"/>
                  </a:lnTo>
                  <a:lnTo>
                    <a:pt x="56" y="306"/>
                  </a:lnTo>
                  <a:lnTo>
                    <a:pt x="42" y="228"/>
                  </a:lnTo>
                  <a:close/>
                  <a:moveTo>
                    <a:pt x="0" y="228"/>
                  </a:moveTo>
                  <a:lnTo>
                    <a:pt x="12" y="303"/>
                  </a:lnTo>
                  <a:lnTo>
                    <a:pt x="45" y="367"/>
                  </a:lnTo>
                  <a:lnTo>
                    <a:pt x="96" y="416"/>
                  </a:lnTo>
                  <a:lnTo>
                    <a:pt x="158" y="447"/>
                  </a:lnTo>
                  <a:lnTo>
                    <a:pt x="231" y="460"/>
                  </a:lnTo>
                  <a:lnTo>
                    <a:pt x="303" y="447"/>
                  </a:lnTo>
                  <a:lnTo>
                    <a:pt x="367" y="416"/>
                  </a:lnTo>
                  <a:lnTo>
                    <a:pt x="416" y="367"/>
                  </a:lnTo>
                  <a:lnTo>
                    <a:pt x="449" y="303"/>
                  </a:lnTo>
                  <a:lnTo>
                    <a:pt x="461" y="228"/>
                  </a:lnTo>
                  <a:lnTo>
                    <a:pt x="449" y="155"/>
                  </a:lnTo>
                  <a:lnTo>
                    <a:pt x="416" y="93"/>
                  </a:lnTo>
                  <a:lnTo>
                    <a:pt x="367" y="44"/>
                  </a:lnTo>
                  <a:lnTo>
                    <a:pt x="303" y="12"/>
                  </a:lnTo>
                  <a:lnTo>
                    <a:pt x="231" y="0"/>
                  </a:lnTo>
                  <a:lnTo>
                    <a:pt x="158" y="12"/>
                  </a:lnTo>
                  <a:lnTo>
                    <a:pt x="96" y="44"/>
                  </a:lnTo>
                  <a:lnTo>
                    <a:pt x="45" y="93"/>
                  </a:lnTo>
                  <a:lnTo>
                    <a:pt x="12" y="155"/>
                  </a:lnTo>
                  <a:lnTo>
                    <a:pt x="0" y="228"/>
                  </a:lnTo>
                  <a:close/>
                  <a:moveTo>
                    <a:pt x="141" y="364"/>
                  </a:moveTo>
                  <a:lnTo>
                    <a:pt x="183" y="364"/>
                  </a:lnTo>
                  <a:lnTo>
                    <a:pt x="183" y="247"/>
                  </a:lnTo>
                  <a:lnTo>
                    <a:pt x="228" y="247"/>
                  </a:lnTo>
                  <a:lnTo>
                    <a:pt x="301" y="364"/>
                  </a:lnTo>
                  <a:lnTo>
                    <a:pt x="346" y="364"/>
                  </a:lnTo>
                  <a:lnTo>
                    <a:pt x="325" y="333"/>
                  </a:lnTo>
                  <a:lnTo>
                    <a:pt x="289" y="275"/>
                  </a:lnTo>
                  <a:lnTo>
                    <a:pt x="270" y="244"/>
                  </a:lnTo>
                  <a:lnTo>
                    <a:pt x="304" y="235"/>
                  </a:lnTo>
                  <a:lnTo>
                    <a:pt x="331" y="213"/>
                  </a:lnTo>
                  <a:lnTo>
                    <a:pt x="339" y="173"/>
                  </a:lnTo>
                  <a:lnTo>
                    <a:pt x="329" y="131"/>
                  </a:lnTo>
                  <a:lnTo>
                    <a:pt x="298" y="105"/>
                  </a:lnTo>
                  <a:lnTo>
                    <a:pt x="245" y="96"/>
                  </a:lnTo>
                  <a:lnTo>
                    <a:pt x="219" y="96"/>
                  </a:lnTo>
                  <a:lnTo>
                    <a:pt x="169" y="96"/>
                  </a:lnTo>
                  <a:lnTo>
                    <a:pt x="141" y="96"/>
                  </a:lnTo>
                  <a:lnTo>
                    <a:pt x="141" y="364"/>
                  </a:lnTo>
                  <a:close/>
                  <a:moveTo>
                    <a:pt x="183" y="129"/>
                  </a:moveTo>
                  <a:lnTo>
                    <a:pt x="198" y="129"/>
                  </a:lnTo>
                  <a:lnTo>
                    <a:pt x="224" y="129"/>
                  </a:lnTo>
                  <a:lnTo>
                    <a:pt x="238" y="129"/>
                  </a:lnTo>
                  <a:lnTo>
                    <a:pt x="266" y="133"/>
                  </a:lnTo>
                  <a:lnTo>
                    <a:pt x="289" y="145"/>
                  </a:lnTo>
                  <a:lnTo>
                    <a:pt x="298" y="171"/>
                  </a:lnTo>
                  <a:lnTo>
                    <a:pt x="287" y="202"/>
                  </a:lnTo>
                  <a:lnTo>
                    <a:pt x="261" y="213"/>
                  </a:lnTo>
                  <a:lnTo>
                    <a:pt x="226" y="216"/>
                  </a:lnTo>
                  <a:lnTo>
                    <a:pt x="216" y="216"/>
                  </a:lnTo>
                  <a:lnTo>
                    <a:pt x="195" y="216"/>
                  </a:lnTo>
                  <a:lnTo>
                    <a:pt x="183" y="216"/>
                  </a:lnTo>
                  <a:lnTo>
                    <a:pt x="183" y="129"/>
                  </a:lnTo>
                  <a:close/>
                </a:path>
              </a:pathLst>
            </a:custGeom>
            <a:solidFill>
              <a:srgbClr val="0079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</p:grpSp>
      <p:sp>
        <p:nvSpPr>
          <p:cNvPr id="12" name="Line 2"/>
          <p:cNvSpPr>
            <a:spLocks noChangeShapeType="1"/>
          </p:cNvSpPr>
          <p:nvPr/>
        </p:nvSpPr>
        <p:spPr bwMode="auto">
          <a:xfrm>
            <a:off x="0" y="3429000"/>
            <a:ext cx="9140825" cy="0"/>
          </a:xfrm>
          <a:prstGeom prst="line">
            <a:avLst/>
          </a:prstGeom>
          <a:noFill/>
          <a:ln w="25400">
            <a:solidFill>
              <a:srgbClr val="FAA53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151" name="Rectangle 79"/>
          <p:cNvSpPr>
            <a:spLocks noGrp="1" noChangeArrowheads="1"/>
          </p:cNvSpPr>
          <p:nvPr>
            <p:ph type="subTitle" idx="1"/>
          </p:nvPr>
        </p:nvSpPr>
        <p:spPr>
          <a:xfrm>
            <a:off x="2806700" y="4724400"/>
            <a:ext cx="5867400" cy="762000"/>
          </a:xfrm>
        </p:spPr>
        <p:txBody>
          <a:bodyPr lIns="228600"/>
          <a:lstStyle>
            <a:lvl1pPr algn="r">
              <a:defRPr b="0" cap="all" baseline="0">
                <a:solidFill>
                  <a:srgbClr val="006699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790825" y="3505200"/>
            <a:ext cx="5895975" cy="1046440"/>
          </a:xfrm>
        </p:spPr>
        <p:txBody>
          <a:bodyPr lIns="228557" bIns="0" anchor="t">
            <a:spAutoFit/>
          </a:bodyPr>
          <a:lstStyle>
            <a:lvl1pPr algn="r">
              <a:defRPr sz="3400">
                <a:solidFill>
                  <a:srgbClr val="00669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74705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549008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50950"/>
            <a:ext cx="4038600" cy="467995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9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50950"/>
            <a:ext cx="4038600" cy="467995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9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9702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872022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05123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50950"/>
            <a:ext cx="4038600" cy="467995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9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50950"/>
            <a:ext cx="4038600" cy="467995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9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32346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39691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5"/>
          <p:cNvGrpSpPr>
            <a:grpSpLocks/>
          </p:cNvGrpSpPr>
          <p:nvPr/>
        </p:nvGrpSpPr>
        <p:grpSpPr bwMode="auto">
          <a:xfrm>
            <a:off x="457200" y="2362200"/>
            <a:ext cx="817563" cy="838200"/>
            <a:chOff x="18142" y="955"/>
            <a:chExt cx="2084" cy="2140"/>
          </a:xfrm>
        </p:grpSpPr>
        <p:sp>
          <p:nvSpPr>
            <p:cNvPr id="5" name="Rectangle 56"/>
            <p:cNvSpPr>
              <a:spLocks noChangeArrowheads="1"/>
            </p:cNvSpPr>
            <p:nvPr/>
          </p:nvSpPr>
          <p:spPr bwMode="auto">
            <a:xfrm>
              <a:off x="18142" y="955"/>
              <a:ext cx="1870" cy="214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en-US" sz="1600" dirty="0">
                <a:solidFill>
                  <a:srgbClr val="333333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6" name="Freeform 57"/>
            <p:cNvSpPr>
              <a:spLocks/>
            </p:cNvSpPr>
            <p:nvPr/>
          </p:nvSpPr>
          <p:spPr bwMode="auto">
            <a:xfrm>
              <a:off x="19101" y="2390"/>
              <a:ext cx="397" cy="620"/>
            </a:xfrm>
            <a:custGeom>
              <a:avLst/>
              <a:gdLst>
                <a:gd name="T0" fmla="*/ 1 w 790"/>
                <a:gd name="T1" fmla="*/ 1 h 1238"/>
                <a:gd name="T2" fmla="*/ 0 w 790"/>
                <a:gd name="T3" fmla="*/ 1 h 1238"/>
                <a:gd name="T4" fmla="*/ 1 w 790"/>
                <a:gd name="T5" fmla="*/ 1 h 1238"/>
                <a:gd name="T6" fmla="*/ 1 w 790"/>
                <a:gd name="T7" fmla="*/ 1 h 1238"/>
                <a:gd name="T8" fmla="*/ 1 w 790"/>
                <a:gd name="T9" fmla="*/ 1 h 1238"/>
                <a:gd name="T10" fmla="*/ 1 w 790"/>
                <a:gd name="T11" fmla="*/ 1 h 1238"/>
                <a:gd name="T12" fmla="*/ 1 w 790"/>
                <a:gd name="T13" fmla="*/ 1 h 1238"/>
                <a:gd name="T14" fmla="*/ 1 w 790"/>
                <a:gd name="T15" fmla="*/ 1 h 1238"/>
                <a:gd name="T16" fmla="*/ 1 w 790"/>
                <a:gd name="T17" fmla="*/ 1 h 1238"/>
                <a:gd name="T18" fmla="*/ 1 w 790"/>
                <a:gd name="T19" fmla="*/ 1 h 1238"/>
                <a:gd name="T20" fmla="*/ 1 w 790"/>
                <a:gd name="T21" fmla="*/ 1 h 1238"/>
                <a:gd name="T22" fmla="*/ 1 w 790"/>
                <a:gd name="T23" fmla="*/ 1 h 1238"/>
                <a:gd name="T24" fmla="*/ 1 w 790"/>
                <a:gd name="T25" fmla="*/ 1 h 1238"/>
                <a:gd name="T26" fmla="*/ 1 w 790"/>
                <a:gd name="T27" fmla="*/ 1 h 1238"/>
                <a:gd name="T28" fmla="*/ 1 w 790"/>
                <a:gd name="T29" fmla="*/ 0 h 1238"/>
                <a:gd name="T30" fmla="*/ 1 w 790"/>
                <a:gd name="T31" fmla="*/ 1 h 1238"/>
                <a:gd name="T32" fmla="*/ 1 w 790"/>
                <a:gd name="T33" fmla="*/ 1 h 1238"/>
                <a:gd name="T34" fmla="*/ 1 w 790"/>
                <a:gd name="T35" fmla="*/ 1 h 1238"/>
                <a:gd name="T36" fmla="*/ 1 w 790"/>
                <a:gd name="T37" fmla="*/ 1 h 1238"/>
                <a:gd name="T38" fmla="*/ 1 w 790"/>
                <a:gd name="T39" fmla="*/ 1 h 1238"/>
                <a:gd name="T40" fmla="*/ 1 w 790"/>
                <a:gd name="T41" fmla="*/ 1 h 1238"/>
                <a:gd name="T42" fmla="*/ 1 w 790"/>
                <a:gd name="T43" fmla="*/ 1 h 1238"/>
                <a:gd name="T44" fmla="*/ 1 w 790"/>
                <a:gd name="T45" fmla="*/ 1 h 1238"/>
                <a:gd name="T46" fmla="*/ 1 w 790"/>
                <a:gd name="T47" fmla="*/ 1 h 1238"/>
                <a:gd name="T48" fmla="*/ 1 w 790"/>
                <a:gd name="T49" fmla="*/ 1 h 1238"/>
                <a:gd name="T50" fmla="*/ 1 w 790"/>
                <a:gd name="T51" fmla="*/ 1 h 1238"/>
                <a:gd name="T52" fmla="*/ 1 w 790"/>
                <a:gd name="T53" fmla="*/ 1 h 1238"/>
                <a:gd name="T54" fmla="*/ 1 w 790"/>
                <a:gd name="T55" fmla="*/ 1 h 1238"/>
                <a:gd name="T56" fmla="*/ 1 w 790"/>
                <a:gd name="T57" fmla="*/ 1 h 1238"/>
                <a:gd name="T58" fmla="*/ 1 w 790"/>
                <a:gd name="T59" fmla="*/ 1 h 1238"/>
                <a:gd name="T60" fmla="*/ 1 w 790"/>
                <a:gd name="T61" fmla="*/ 1 h 1238"/>
                <a:gd name="T62" fmla="*/ 1 w 790"/>
                <a:gd name="T63" fmla="*/ 1 h 1238"/>
                <a:gd name="T64" fmla="*/ 1 w 790"/>
                <a:gd name="T65" fmla="*/ 1 h 1238"/>
                <a:gd name="T66" fmla="*/ 1 w 790"/>
                <a:gd name="T67" fmla="*/ 1 h 1238"/>
                <a:gd name="T68" fmla="*/ 1 w 790"/>
                <a:gd name="T69" fmla="*/ 1 h 1238"/>
                <a:gd name="T70" fmla="*/ 1 w 790"/>
                <a:gd name="T71" fmla="*/ 1 h 1238"/>
                <a:gd name="T72" fmla="*/ 1 w 790"/>
                <a:gd name="T73" fmla="*/ 1 h 1238"/>
                <a:gd name="T74" fmla="*/ 1 w 790"/>
                <a:gd name="T75" fmla="*/ 1 h 1238"/>
                <a:gd name="T76" fmla="*/ 1 w 790"/>
                <a:gd name="T77" fmla="*/ 1 h 1238"/>
                <a:gd name="T78" fmla="*/ 1 w 790"/>
                <a:gd name="T79" fmla="*/ 1 h 1238"/>
                <a:gd name="T80" fmla="*/ 1 w 790"/>
                <a:gd name="T81" fmla="*/ 1 h 1238"/>
                <a:gd name="T82" fmla="*/ 1 w 790"/>
                <a:gd name="T83" fmla="*/ 1 h 1238"/>
                <a:gd name="T84" fmla="*/ 1 w 790"/>
                <a:gd name="T85" fmla="*/ 1 h 1238"/>
                <a:gd name="T86" fmla="*/ 1 w 790"/>
                <a:gd name="T87" fmla="*/ 1 h 123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790" h="1238">
                  <a:moveTo>
                    <a:pt x="78" y="1113"/>
                  </a:moveTo>
                  <a:lnTo>
                    <a:pt x="31" y="1021"/>
                  </a:lnTo>
                  <a:lnTo>
                    <a:pt x="7" y="937"/>
                  </a:lnTo>
                  <a:lnTo>
                    <a:pt x="0" y="861"/>
                  </a:lnTo>
                  <a:lnTo>
                    <a:pt x="5" y="794"/>
                  </a:lnTo>
                  <a:lnTo>
                    <a:pt x="23" y="737"/>
                  </a:lnTo>
                  <a:lnTo>
                    <a:pt x="44" y="690"/>
                  </a:lnTo>
                  <a:lnTo>
                    <a:pt x="68" y="652"/>
                  </a:lnTo>
                  <a:lnTo>
                    <a:pt x="91" y="624"/>
                  </a:lnTo>
                  <a:lnTo>
                    <a:pt x="106" y="607"/>
                  </a:lnTo>
                  <a:lnTo>
                    <a:pt x="113" y="601"/>
                  </a:lnTo>
                  <a:lnTo>
                    <a:pt x="134" y="581"/>
                  </a:lnTo>
                  <a:lnTo>
                    <a:pt x="174" y="540"/>
                  </a:lnTo>
                  <a:lnTo>
                    <a:pt x="195" y="520"/>
                  </a:lnTo>
                  <a:lnTo>
                    <a:pt x="143" y="426"/>
                  </a:lnTo>
                  <a:lnTo>
                    <a:pt x="115" y="342"/>
                  </a:lnTo>
                  <a:lnTo>
                    <a:pt x="106" y="271"/>
                  </a:lnTo>
                  <a:lnTo>
                    <a:pt x="111" y="208"/>
                  </a:lnTo>
                  <a:lnTo>
                    <a:pt x="129" y="153"/>
                  </a:lnTo>
                  <a:lnTo>
                    <a:pt x="195" y="64"/>
                  </a:lnTo>
                  <a:lnTo>
                    <a:pt x="275" y="19"/>
                  </a:lnTo>
                  <a:lnTo>
                    <a:pt x="311" y="7"/>
                  </a:lnTo>
                  <a:lnTo>
                    <a:pt x="346" y="1"/>
                  </a:lnTo>
                  <a:lnTo>
                    <a:pt x="428" y="0"/>
                  </a:lnTo>
                  <a:lnTo>
                    <a:pt x="529" y="17"/>
                  </a:lnTo>
                  <a:lnTo>
                    <a:pt x="623" y="73"/>
                  </a:lnTo>
                  <a:lnTo>
                    <a:pt x="640" y="88"/>
                  </a:lnTo>
                  <a:lnTo>
                    <a:pt x="673" y="149"/>
                  </a:lnTo>
                  <a:lnTo>
                    <a:pt x="694" y="276"/>
                  </a:lnTo>
                  <a:lnTo>
                    <a:pt x="694" y="297"/>
                  </a:lnTo>
                  <a:lnTo>
                    <a:pt x="694" y="332"/>
                  </a:lnTo>
                  <a:lnTo>
                    <a:pt x="694" y="353"/>
                  </a:lnTo>
                  <a:lnTo>
                    <a:pt x="463" y="353"/>
                  </a:lnTo>
                  <a:lnTo>
                    <a:pt x="463" y="328"/>
                  </a:lnTo>
                  <a:lnTo>
                    <a:pt x="463" y="283"/>
                  </a:lnTo>
                  <a:lnTo>
                    <a:pt x="463" y="260"/>
                  </a:lnTo>
                  <a:lnTo>
                    <a:pt x="444" y="217"/>
                  </a:lnTo>
                  <a:lnTo>
                    <a:pt x="414" y="201"/>
                  </a:lnTo>
                  <a:lnTo>
                    <a:pt x="398" y="198"/>
                  </a:lnTo>
                  <a:lnTo>
                    <a:pt x="355" y="205"/>
                  </a:lnTo>
                  <a:lnTo>
                    <a:pt x="331" y="234"/>
                  </a:lnTo>
                  <a:lnTo>
                    <a:pt x="324" y="274"/>
                  </a:lnTo>
                  <a:lnTo>
                    <a:pt x="322" y="283"/>
                  </a:lnTo>
                  <a:lnTo>
                    <a:pt x="327" y="314"/>
                  </a:lnTo>
                  <a:lnTo>
                    <a:pt x="358" y="374"/>
                  </a:lnTo>
                  <a:lnTo>
                    <a:pt x="400" y="438"/>
                  </a:lnTo>
                  <a:lnTo>
                    <a:pt x="458" y="521"/>
                  </a:lnTo>
                  <a:lnTo>
                    <a:pt x="518" y="607"/>
                  </a:lnTo>
                  <a:lnTo>
                    <a:pt x="565" y="671"/>
                  </a:lnTo>
                  <a:lnTo>
                    <a:pt x="584" y="697"/>
                  </a:lnTo>
                  <a:lnTo>
                    <a:pt x="584" y="534"/>
                  </a:lnTo>
                  <a:lnTo>
                    <a:pt x="786" y="534"/>
                  </a:lnTo>
                  <a:lnTo>
                    <a:pt x="786" y="554"/>
                  </a:lnTo>
                  <a:lnTo>
                    <a:pt x="786" y="608"/>
                  </a:lnTo>
                  <a:lnTo>
                    <a:pt x="786" y="690"/>
                  </a:lnTo>
                  <a:lnTo>
                    <a:pt x="786" y="786"/>
                  </a:lnTo>
                  <a:lnTo>
                    <a:pt x="786" y="890"/>
                  </a:lnTo>
                  <a:lnTo>
                    <a:pt x="786" y="991"/>
                  </a:lnTo>
                  <a:lnTo>
                    <a:pt x="786" y="1080"/>
                  </a:lnTo>
                  <a:lnTo>
                    <a:pt x="788" y="1148"/>
                  </a:lnTo>
                  <a:lnTo>
                    <a:pt x="788" y="1184"/>
                  </a:lnTo>
                  <a:lnTo>
                    <a:pt x="790" y="1201"/>
                  </a:lnTo>
                  <a:lnTo>
                    <a:pt x="776" y="1229"/>
                  </a:lnTo>
                  <a:lnTo>
                    <a:pt x="722" y="1238"/>
                  </a:lnTo>
                  <a:lnTo>
                    <a:pt x="666" y="1238"/>
                  </a:lnTo>
                  <a:lnTo>
                    <a:pt x="544" y="1238"/>
                  </a:lnTo>
                  <a:lnTo>
                    <a:pt x="423" y="1238"/>
                  </a:lnTo>
                  <a:lnTo>
                    <a:pt x="369" y="1238"/>
                  </a:lnTo>
                  <a:lnTo>
                    <a:pt x="78" y="1113"/>
                  </a:lnTo>
                  <a:close/>
                </a:path>
              </a:pathLst>
            </a:custGeom>
            <a:solidFill>
              <a:srgbClr val="FFA9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7" name="Freeform 58"/>
            <p:cNvSpPr>
              <a:spLocks/>
            </p:cNvSpPr>
            <p:nvPr/>
          </p:nvSpPr>
          <p:spPr bwMode="auto">
            <a:xfrm>
              <a:off x="19222" y="2738"/>
              <a:ext cx="166" cy="170"/>
            </a:xfrm>
            <a:custGeom>
              <a:avLst/>
              <a:gdLst>
                <a:gd name="T0" fmla="*/ 0 w 336"/>
                <a:gd name="T1" fmla="*/ 0 h 343"/>
                <a:gd name="T2" fmla="*/ 0 w 336"/>
                <a:gd name="T3" fmla="*/ 0 h 343"/>
                <a:gd name="T4" fmla="*/ 0 w 336"/>
                <a:gd name="T5" fmla="*/ 0 h 343"/>
                <a:gd name="T6" fmla="*/ 0 w 336"/>
                <a:gd name="T7" fmla="*/ 0 h 343"/>
                <a:gd name="T8" fmla="*/ 0 w 336"/>
                <a:gd name="T9" fmla="*/ 0 h 343"/>
                <a:gd name="T10" fmla="*/ 0 w 336"/>
                <a:gd name="T11" fmla="*/ 0 h 343"/>
                <a:gd name="T12" fmla="*/ 0 w 336"/>
                <a:gd name="T13" fmla="*/ 0 h 343"/>
                <a:gd name="T14" fmla="*/ 0 w 336"/>
                <a:gd name="T15" fmla="*/ 0 h 343"/>
                <a:gd name="T16" fmla="*/ 0 w 336"/>
                <a:gd name="T17" fmla="*/ 0 h 343"/>
                <a:gd name="T18" fmla="*/ 0 w 336"/>
                <a:gd name="T19" fmla="*/ 0 h 343"/>
                <a:gd name="T20" fmla="*/ 0 w 336"/>
                <a:gd name="T21" fmla="*/ 0 h 343"/>
                <a:gd name="T22" fmla="*/ 0 w 336"/>
                <a:gd name="T23" fmla="*/ 0 h 343"/>
                <a:gd name="T24" fmla="*/ 0 w 336"/>
                <a:gd name="T25" fmla="*/ 0 h 343"/>
                <a:gd name="T26" fmla="*/ 0 w 336"/>
                <a:gd name="T27" fmla="*/ 0 h 343"/>
                <a:gd name="T28" fmla="*/ 0 w 336"/>
                <a:gd name="T29" fmla="*/ 0 h 343"/>
                <a:gd name="T30" fmla="*/ 0 w 336"/>
                <a:gd name="T31" fmla="*/ 0 h 343"/>
                <a:gd name="T32" fmla="*/ 0 w 336"/>
                <a:gd name="T33" fmla="*/ 0 h 343"/>
                <a:gd name="T34" fmla="*/ 0 w 336"/>
                <a:gd name="T35" fmla="*/ 0 h 343"/>
                <a:gd name="T36" fmla="*/ 0 w 336"/>
                <a:gd name="T37" fmla="*/ 0 h 343"/>
                <a:gd name="T38" fmla="*/ 0 w 336"/>
                <a:gd name="T39" fmla="*/ 0 h 343"/>
                <a:gd name="T40" fmla="*/ 0 w 336"/>
                <a:gd name="T41" fmla="*/ 0 h 343"/>
                <a:gd name="T42" fmla="*/ 0 w 336"/>
                <a:gd name="T43" fmla="*/ 0 h 34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336" h="343">
                  <a:moveTo>
                    <a:pt x="333" y="343"/>
                  </a:moveTo>
                  <a:lnTo>
                    <a:pt x="336" y="325"/>
                  </a:lnTo>
                  <a:lnTo>
                    <a:pt x="308" y="292"/>
                  </a:lnTo>
                  <a:lnTo>
                    <a:pt x="239" y="211"/>
                  </a:lnTo>
                  <a:lnTo>
                    <a:pt x="157" y="115"/>
                  </a:lnTo>
                  <a:lnTo>
                    <a:pt x="89" y="35"/>
                  </a:lnTo>
                  <a:lnTo>
                    <a:pt x="60" y="0"/>
                  </a:lnTo>
                  <a:lnTo>
                    <a:pt x="30" y="37"/>
                  </a:lnTo>
                  <a:lnTo>
                    <a:pt x="4" y="104"/>
                  </a:lnTo>
                  <a:lnTo>
                    <a:pt x="0" y="191"/>
                  </a:lnTo>
                  <a:lnTo>
                    <a:pt x="39" y="285"/>
                  </a:lnTo>
                  <a:lnTo>
                    <a:pt x="60" y="303"/>
                  </a:lnTo>
                  <a:lnTo>
                    <a:pt x="119" y="332"/>
                  </a:lnTo>
                  <a:lnTo>
                    <a:pt x="211" y="343"/>
                  </a:lnTo>
                  <a:lnTo>
                    <a:pt x="242" y="343"/>
                  </a:lnTo>
                  <a:lnTo>
                    <a:pt x="301" y="343"/>
                  </a:lnTo>
                  <a:lnTo>
                    <a:pt x="333" y="34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59"/>
            <p:cNvSpPr>
              <a:spLocks/>
            </p:cNvSpPr>
            <p:nvPr/>
          </p:nvSpPr>
          <p:spPr bwMode="auto">
            <a:xfrm>
              <a:off x="19538" y="1036"/>
              <a:ext cx="393" cy="1982"/>
            </a:xfrm>
            <a:custGeom>
              <a:avLst/>
              <a:gdLst>
                <a:gd name="T0" fmla="*/ 0 w 785"/>
                <a:gd name="T1" fmla="*/ 0 h 3959"/>
                <a:gd name="T2" fmla="*/ 0 w 785"/>
                <a:gd name="T3" fmla="*/ 1 h 3959"/>
                <a:gd name="T4" fmla="*/ 1 w 785"/>
                <a:gd name="T5" fmla="*/ 1 h 3959"/>
                <a:gd name="T6" fmla="*/ 1 w 785"/>
                <a:gd name="T7" fmla="*/ 1 h 3959"/>
                <a:gd name="T8" fmla="*/ 1 w 785"/>
                <a:gd name="T9" fmla="*/ 1 h 3959"/>
                <a:gd name="T10" fmla="*/ 1 w 785"/>
                <a:gd name="T11" fmla="*/ 1 h 3959"/>
                <a:gd name="T12" fmla="*/ 1 w 785"/>
                <a:gd name="T13" fmla="*/ 1 h 3959"/>
                <a:gd name="T14" fmla="*/ 1 w 785"/>
                <a:gd name="T15" fmla="*/ 1 h 3959"/>
                <a:gd name="T16" fmla="*/ 1 w 785"/>
                <a:gd name="T17" fmla="*/ 1 h 3959"/>
                <a:gd name="T18" fmla="*/ 1 w 785"/>
                <a:gd name="T19" fmla="*/ 1 h 3959"/>
                <a:gd name="T20" fmla="*/ 1 w 785"/>
                <a:gd name="T21" fmla="*/ 1 h 3959"/>
                <a:gd name="T22" fmla="*/ 1 w 785"/>
                <a:gd name="T23" fmla="*/ 1 h 3959"/>
                <a:gd name="T24" fmla="*/ 1 w 785"/>
                <a:gd name="T25" fmla="*/ 1 h 3959"/>
                <a:gd name="T26" fmla="*/ 1 w 785"/>
                <a:gd name="T27" fmla="*/ 1 h 3959"/>
                <a:gd name="T28" fmla="*/ 1 w 785"/>
                <a:gd name="T29" fmla="*/ 1 h 3959"/>
                <a:gd name="T30" fmla="*/ 1 w 785"/>
                <a:gd name="T31" fmla="*/ 0 h 3959"/>
                <a:gd name="T32" fmla="*/ 0 w 785"/>
                <a:gd name="T33" fmla="*/ 0 h 39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785" h="3959">
                  <a:moveTo>
                    <a:pt x="0" y="0"/>
                  </a:moveTo>
                  <a:lnTo>
                    <a:pt x="0" y="3959"/>
                  </a:lnTo>
                  <a:lnTo>
                    <a:pt x="49" y="3959"/>
                  </a:lnTo>
                  <a:lnTo>
                    <a:pt x="49" y="2454"/>
                  </a:lnTo>
                  <a:lnTo>
                    <a:pt x="696" y="2454"/>
                  </a:lnTo>
                  <a:lnTo>
                    <a:pt x="696" y="2720"/>
                  </a:lnTo>
                  <a:lnTo>
                    <a:pt x="369" y="2720"/>
                  </a:lnTo>
                  <a:lnTo>
                    <a:pt x="369" y="3056"/>
                  </a:lnTo>
                  <a:lnTo>
                    <a:pt x="696" y="3056"/>
                  </a:lnTo>
                  <a:lnTo>
                    <a:pt x="696" y="3322"/>
                  </a:lnTo>
                  <a:lnTo>
                    <a:pt x="369" y="3322"/>
                  </a:lnTo>
                  <a:lnTo>
                    <a:pt x="369" y="3684"/>
                  </a:lnTo>
                  <a:lnTo>
                    <a:pt x="696" y="3684"/>
                  </a:lnTo>
                  <a:lnTo>
                    <a:pt x="696" y="3945"/>
                  </a:lnTo>
                  <a:lnTo>
                    <a:pt x="785" y="3945"/>
                  </a:lnTo>
                  <a:lnTo>
                    <a:pt x="78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9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0"/>
            <p:cNvSpPr>
              <a:spLocks/>
            </p:cNvSpPr>
            <p:nvPr/>
          </p:nvSpPr>
          <p:spPr bwMode="auto">
            <a:xfrm>
              <a:off x="18421" y="2398"/>
              <a:ext cx="77" cy="219"/>
            </a:xfrm>
            <a:custGeom>
              <a:avLst/>
              <a:gdLst>
                <a:gd name="T0" fmla="*/ 0 w 152"/>
                <a:gd name="T1" fmla="*/ 0 h 435"/>
                <a:gd name="T2" fmla="*/ 0 w 152"/>
                <a:gd name="T3" fmla="*/ 1 h 435"/>
                <a:gd name="T4" fmla="*/ 0 w 152"/>
                <a:gd name="T5" fmla="*/ 1 h 435"/>
                <a:gd name="T6" fmla="*/ 0 w 152"/>
                <a:gd name="T7" fmla="*/ 1 h 435"/>
                <a:gd name="T8" fmla="*/ 0 w 152"/>
                <a:gd name="T9" fmla="*/ 1 h 435"/>
                <a:gd name="T10" fmla="*/ 0 w 152"/>
                <a:gd name="T11" fmla="*/ 1 h 435"/>
                <a:gd name="T12" fmla="*/ 0 w 152"/>
                <a:gd name="T13" fmla="*/ 1 h 435"/>
                <a:gd name="T14" fmla="*/ 0 w 152"/>
                <a:gd name="T15" fmla="*/ 1 h 435"/>
                <a:gd name="T16" fmla="*/ 1 w 152"/>
                <a:gd name="T17" fmla="*/ 1 h 435"/>
                <a:gd name="T18" fmla="*/ 1 w 152"/>
                <a:gd name="T19" fmla="*/ 1 h 435"/>
                <a:gd name="T20" fmla="*/ 1 w 152"/>
                <a:gd name="T21" fmla="*/ 1 h 435"/>
                <a:gd name="T22" fmla="*/ 1 w 152"/>
                <a:gd name="T23" fmla="*/ 1 h 435"/>
                <a:gd name="T24" fmla="*/ 1 w 152"/>
                <a:gd name="T25" fmla="*/ 1 h 435"/>
                <a:gd name="T26" fmla="*/ 1 w 152"/>
                <a:gd name="T27" fmla="*/ 1 h 435"/>
                <a:gd name="T28" fmla="*/ 1 w 152"/>
                <a:gd name="T29" fmla="*/ 1 h 435"/>
                <a:gd name="T30" fmla="*/ 1 w 152"/>
                <a:gd name="T31" fmla="*/ 1 h 435"/>
                <a:gd name="T32" fmla="*/ 1 w 152"/>
                <a:gd name="T33" fmla="*/ 1 h 435"/>
                <a:gd name="T34" fmla="*/ 1 w 152"/>
                <a:gd name="T35" fmla="*/ 1 h 435"/>
                <a:gd name="T36" fmla="*/ 0 w 152"/>
                <a:gd name="T37" fmla="*/ 0 h 435"/>
                <a:gd name="T38" fmla="*/ 0 w 152"/>
                <a:gd name="T39" fmla="*/ 0 h 43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2" h="435">
                  <a:moveTo>
                    <a:pt x="0" y="0"/>
                  </a:moveTo>
                  <a:lnTo>
                    <a:pt x="0" y="34"/>
                  </a:lnTo>
                  <a:lnTo>
                    <a:pt x="0" y="114"/>
                  </a:lnTo>
                  <a:lnTo>
                    <a:pt x="0" y="218"/>
                  </a:lnTo>
                  <a:lnTo>
                    <a:pt x="0" y="322"/>
                  </a:lnTo>
                  <a:lnTo>
                    <a:pt x="0" y="402"/>
                  </a:lnTo>
                  <a:lnTo>
                    <a:pt x="0" y="435"/>
                  </a:lnTo>
                  <a:lnTo>
                    <a:pt x="75" y="423"/>
                  </a:lnTo>
                  <a:lnTo>
                    <a:pt x="124" y="371"/>
                  </a:lnTo>
                  <a:lnTo>
                    <a:pt x="146" y="298"/>
                  </a:lnTo>
                  <a:lnTo>
                    <a:pt x="152" y="221"/>
                  </a:lnTo>
                  <a:lnTo>
                    <a:pt x="150" y="157"/>
                  </a:lnTo>
                  <a:lnTo>
                    <a:pt x="143" y="110"/>
                  </a:lnTo>
                  <a:lnTo>
                    <a:pt x="126" y="63"/>
                  </a:lnTo>
                  <a:lnTo>
                    <a:pt x="80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9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1"/>
            <p:cNvSpPr>
              <a:spLocks/>
            </p:cNvSpPr>
            <p:nvPr/>
          </p:nvSpPr>
          <p:spPr bwMode="auto">
            <a:xfrm>
              <a:off x="18223" y="1036"/>
              <a:ext cx="1307" cy="1982"/>
            </a:xfrm>
            <a:custGeom>
              <a:avLst/>
              <a:gdLst>
                <a:gd name="T0" fmla="*/ 0 w 2616"/>
                <a:gd name="T1" fmla="*/ 0 h 3962"/>
                <a:gd name="T2" fmla="*/ 0 w 2616"/>
                <a:gd name="T3" fmla="*/ 1 h 3962"/>
                <a:gd name="T4" fmla="*/ 0 w 2616"/>
                <a:gd name="T5" fmla="*/ 1 h 3962"/>
                <a:gd name="T6" fmla="*/ 0 w 2616"/>
                <a:gd name="T7" fmla="*/ 1 h 3962"/>
                <a:gd name="T8" fmla="*/ 0 w 2616"/>
                <a:gd name="T9" fmla="*/ 1 h 3962"/>
                <a:gd name="T10" fmla="*/ 0 w 2616"/>
                <a:gd name="T11" fmla="*/ 1 h 3962"/>
                <a:gd name="T12" fmla="*/ 0 w 2616"/>
                <a:gd name="T13" fmla="*/ 1 h 3962"/>
                <a:gd name="T14" fmla="*/ 0 w 2616"/>
                <a:gd name="T15" fmla="*/ 1 h 3962"/>
                <a:gd name="T16" fmla="*/ 0 w 2616"/>
                <a:gd name="T17" fmla="*/ 1 h 3962"/>
                <a:gd name="T18" fmla="*/ 0 w 2616"/>
                <a:gd name="T19" fmla="*/ 1 h 3962"/>
                <a:gd name="T20" fmla="*/ 0 w 2616"/>
                <a:gd name="T21" fmla="*/ 1 h 3962"/>
                <a:gd name="T22" fmla="*/ 0 w 2616"/>
                <a:gd name="T23" fmla="*/ 1 h 3962"/>
                <a:gd name="T24" fmla="*/ 0 w 2616"/>
                <a:gd name="T25" fmla="*/ 1 h 3962"/>
                <a:gd name="T26" fmla="*/ 0 w 2616"/>
                <a:gd name="T27" fmla="*/ 1 h 3962"/>
                <a:gd name="T28" fmla="*/ 0 w 2616"/>
                <a:gd name="T29" fmla="*/ 1 h 3962"/>
                <a:gd name="T30" fmla="*/ 0 w 2616"/>
                <a:gd name="T31" fmla="*/ 1 h 3962"/>
                <a:gd name="T32" fmla="*/ 0 w 2616"/>
                <a:gd name="T33" fmla="*/ 1 h 3962"/>
                <a:gd name="T34" fmla="*/ 0 w 2616"/>
                <a:gd name="T35" fmla="*/ 1 h 3962"/>
                <a:gd name="T36" fmla="*/ 0 w 2616"/>
                <a:gd name="T37" fmla="*/ 1 h 3962"/>
                <a:gd name="T38" fmla="*/ 0 w 2616"/>
                <a:gd name="T39" fmla="*/ 1 h 3962"/>
                <a:gd name="T40" fmla="*/ 0 w 2616"/>
                <a:gd name="T41" fmla="*/ 1 h 3962"/>
                <a:gd name="T42" fmla="*/ 0 w 2616"/>
                <a:gd name="T43" fmla="*/ 1 h 3962"/>
                <a:gd name="T44" fmla="*/ 0 w 2616"/>
                <a:gd name="T45" fmla="*/ 1 h 3962"/>
                <a:gd name="T46" fmla="*/ 0 w 2616"/>
                <a:gd name="T47" fmla="*/ 1 h 3962"/>
                <a:gd name="T48" fmla="*/ 0 w 2616"/>
                <a:gd name="T49" fmla="*/ 1 h 3962"/>
                <a:gd name="T50" fmla="*/ 0 w 2616"/>
                <a:gd name="T51" fmla="*/ 1 h 3962"/>
                <a:gd name="T52" fmla="*/ 0 w 2616"/>
                <a:gd name="T53" fmla="*/ 1 h 3962"/>
                <a:gd name="T54" fmla="*/ 0 w 2616"/>
                <a:gd name="T55" fmla="*/ 1 h 3962"/>
                <a:gd name="T56" fmla="*/ 0 w 2616"/>
                <a:gd name="T57" fmla="*/ 1 h 3962"/>
                <a:gd name="T58" fmla="*/ 0 w 2616"/>
                <a:gd name="T59" fmla="*/ 1 h 3962"/>
                <a:gd name="T60" fmla="*/ 0 w 2616"/>
                <a:gd name="T61" fmla="*/ 1 h 3962"/>
                <a:gd name="T62" fmla="*/ 0 w 2616"/>
                <a:gd name="T63" fmla="*/ 1 h 3962"/>
                <a:gd name="T64" fmla="*/ 0 w 2616"/>
                <a:gd name="T65" fmla="*/ 1 h 3962"/>
                <a:gd name="T66" fmla="*/ 0 w 2616"/>
                <a:gd name="T67" fmla="*/ 1 h 3962"/>
                <a:gd name="T68" fmla="*/ 0 w 2616"/>
                <a:gd name="T69" fmla="*/ 1 h 3962"/>
                <a:gd name="T70" fmla="*/ 0 w 2616"/>
                <a:gd name="T71" fmla="*/ 1 h 3962"/>
                <a:gd name="T72" fmla="*/ 0 w 2616"/>
                <a:gd name="T73" fmla="*/ 1 h 3962"/>
                <a:gd name="T74" fmla="*/ 0 w 2616"/>
                <a:gd name="T75" fmla="*/ 1 h 3962"/>
                <a:gd name="T76" fmla="*/ 0 w 2616"/>
                <a:gd name="T77" fmla="*/ 1 h 3962"/>
                <a:gd name="T78" fmla="*/ 0 w 2616"/>
                <a:gd name="T79" fmla="*/ 1 h 3962"/>
                <a:gd name="T80" fmla="*/ 0 w 2616"/>
                <a:gd name="T81" fmla="*/ 1 h 3962"/>
                <a:gd name="T82" fmla="*/ 0 w 2616"/>
                <a:gd name="T83" fmla="*/ 1 h 3962"/>
                <a:gd name="T84" fmla="*/ 0 w 2616"/>
                <a:gd name="T85" fmla="*/ 1 h 396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616" h="3962">
                  <a:moveTo>
                    <a:pt x="1638" y="3482"/>
                  </a:moveTo>
                  <a:lnTo>
                    <a:pt x="2616" y="0"/>
                  </a:lnTo>
                  <a:lnTo>
                    <a:pt x="3" y="0"/>
                  </a:lnTo>
                  <a:lnTo>
                    <a:pt x="0" y="3962"/>
                  </a:lnTo>
                  <a:lnTo>
                    <a:pt x="96" y="3962"/>
                  </a:lnTo>
                  <a:lnTo>
                    <a:pt x="96" y="2447"/>
                  </a:lnTo>
                  <a:lnTo>
                    <a:pt x="405" y="2447"/>
                  </a:lnTo>
                  <a:lnTo>
                    <a:pt x="421" y="2447"/>
                  </a:lnTo>
                  <a:lnTo>
                    <a:pt x="466" y="2449"/>
                  </a:lnTo>
                  <a:lnTo>
                    <a:pt x="529" y="2458"/>
                  </a:lnTo>
                  <a:lnTo>
                    <a:pt x="602" y="2477"/>
                  </a:lnTo>
                  <a:lnTo>
                    <a:pt x="678" y="2513"/>
                  </a:lnTo>
                  <a:lnTo>
                    <a:pt x="748" y="2573"/>
                  </a:lnTo>
                  <a:lnTo>
                    <a:pt x="804" y="2656"/>
                  </a:lnTo>
                  <a:lnTo>
                    <a:pt x="828" y="2719"/>
                  </a:lnTo>
                  <a:lnTo>
                    <a:pt x="842" y="2790"/>
                  </a:lnTo>
                  <a:lnTo>
                    <a:pt x="850" y="2898"/>
                  </a:lnTo>
                  <a:lnTo>
                    <a:pt x="850" y="3002"/>
                  </a:lnTo>
                  <a:lnTo>
                    <a:pt x="842" y="3098"/>
                  </a:lnTo>
                  <a:lnTo>
                    <a:pt x="828" y="3171"/>
                  </a:lnTo>
                  <a:lnTo>
                    <a:pt x="817" y="3206"/>
                  </a:lnTo>
                  <a:lnTo>
                    <a:pt x="805" y="3228"/>
                  </a:lnTo>
                  <a:lnTo>
                    <a:pt x="779" y="3270"/>
                  </a:lnTo>
                  <a:lnTo>
                    <a:pt x="736" y="3322"/>
                  </a:lnTo>
                  <a:lnTo>
                    <a:pt x="675" y="3373"/>
                  </a:lnTo>
                  <a:lnTo>
                    <a:pt x="597" y="3408"/>
                  </a:lnTo>
                  <a:lnTo>
                    <a:pt x="496" y="3418"/>
                  </a:lnTo>
                  <a:lnTo>
                    <a:pt x="470" y="3418"/>
                  </a:lnTo>
                  <a:lnTo>
                    <a:pt x="421" y="3416"/>
                  </a:lnTo>
                  <a:lnTo>
                    <a:pt x="395" y="3414"/>
                  </a:lnTo>
                  <a:lnTo>
                    <a:pt x="395" y="3948"/>
                  </a:lnTo>
                  <a:lnTo>
                    <a:pt x="1117" y="3948"/>
                  </a:lnTo>
                  <a:lnTo>
                    <a:pt x="1104" y="3945"/>
                  </a:lnTo>
                  <a:lnTo>
                    <a:pt x="1073" y="3931"/>
                  </a:lnTo>
                  <a:lnTo>
                    <a:pt x="1031" y="3907"/>
                  </a:lnTo>
                  <a:lnTo>
                    <a:pt x="984" y="3867"/>
                  </a:lnTo>
                  <a:lnTo>
                    <a:pt x="943" y="3808"/>
                  </a:lnTo>
                  <a:lnTo>
                    <a:pt x="911" y="3728"/>
                  </a:lnTo>
                  <a:lnTo>
                    <a:pt x="899" y="3623"/>
                  </a:lnTo>
                  <a:lnTo>
                    <a:pt x="899" y="3609"/>
                  </a:lnTo>
                  <a:lnTo>
                    <a:pt x="899" y="3569"/>
                  </a:lnTo>
                  <a:lnTo>
                    <a:pt x="899" y="3507"/>
                  </a:lnTo>
                  <a:lnTo>
                    <a:pt x="899" y="3428"/>
                  </a:lnTo>
                  <a:lnTo>
                    <a:pt x="899" y="3340"/>
                  </a:lnTo>
                  <a:lnTo>
                    <a:pt x="899" y="3242"/>
                  </a:lnTo>
                  <a:lnTo>
                    <a:pt x="899" y="3143"/>
                  </a:lnTo>
                  <a:lnTo>
                    <a:pt x="899" y="3046"/>
                  </a:lnTo>
                  <a:lnTo>
                    <a:pt x="899" y="2957"/>
                  </a:lnTo>
                  <a:lnTo>
                    <a:pt x="899" y="2879"/>
                  </a:lnTo>
                  <a:lnTo>
                    <a:pt x="899" y="2816"/>
                  </a:lnTo>
                  <a:lnTo>
                    <a:pt x="899" y="2776"/>
                  </a:lnTo>
                  <a:lnTo>
                    <a:pt x="899" y="2762"/>
                  </a:lnTo>
                  <a:lnTo>
                    <a:pt x="897" y="2747"/>
                  </a:lnTo>
                  <a:lnTo>
                    <a:pt x="899" y="2708"/>
                  </a:lnTo>
                  <a:lnTo>
                    <a:pt x="908" y="2654"/>
                  </a:lnTo>
                  <a:lnTo>
                    <a:pt x="929" y="2593"/>
                  </a:lnTo>
                  <a:lnTo>
                    <a:pt x="969" y="2531"/>
                  </a:lnTo>
                  <a:lnTo>
                    <a:pt x="1033" y="2477"/>
                  </a:lnTo>
                  <a:lnTo>
                    <a:pt x="1127" y="2440"/>
                  </a:lnTo>
                  <a:lnTo>
                    <a:pt x="1139" y="2437"/>
                  </a:lnTo>
                  <a:lnTo>
                    <a:pt x="1172" y="2428"/>
                  </a:lnTo>
                  <a:lnTo>
                    <a:pt x="1223" y="2421"/>
                  </a:lnTo>
                  <a:lnTo>
                    <a:pt x="1285" y="2418"/>
                  </a:lnTo>
                  <a:lnTo>
                    <a:pt x="1355" y="2425"/>
                  </a:lnTo>
                  <a:lnTo>
                    <a:pt x="1426" y="2446"/>
                  </a:lnTo>
                  <a:lnTo>
                    <a:pt x="1494" y="2486"/>
                  </a:lnTo>
                  <a:lnTo>
                    <a:pt x="1557" y="2550"/>
                  </a:lnTo>
                  <a:lnTo>
                    <a:pt x="1565" y="2559"/>
                  </a:lnTo>
                  <a:lnTo>
                    <a:pt x="1588" y="2592"/>
                  </a:lnTo>
                  <a:lnTo>
                    <a:pt x="1612" y="2654"/>
                  </a:lnTo>
                  <a:lnTo>
                    <a:pt x="1628" y="2755"/>
                  </a:lnTo>
                  <a:lnTo>
                    <a:pt x="1624" y="2898"/>
                  </a:lnTo>
                  <a:lnTo>
                    <a:pt x="1550" y="2898"/>
                  </a:lnTo>
                  <a:lnTo>
                    <a:pt x="1411" y="2896"/>
                  </a:lnTo>
                  <a:lnTo>
                    <a:pt x="1334" y="2894"/>
                  </a:lnTo>
                  <a:lnTo>
                    <a:pt x="1334" y="2755"/>
                  </a:lnTo>
                  <a:lnTo>
                    <a:pt x="1331" y="2738"/>
                  </a:lnTo>
                  <a:lnTo>
                    <a:pt x="1311" y="2705"/>
                  </a:lnTo>
                  <a:lnTo>
                    <a:pt x="1266" y="2687"/>
                  </a:lnTo>
                  <a:lnTo>
                    <a:pt x="1221" y="2701"/>
                  </a:lnTo>
                  <a:lnTo>
                    <a:pt x="1204" y="2733"/>
                  </a:lnTo>
                  <a:lnTo>
                    <a:pt x="1200" y="2776"/>
                  </a:lnTo>
                  <a:lnTo>
                    <a:pt x="1200" y="2792"/>
                  </a:lnTo>
                  <a:lnTo>
                    <a:pt x="1200" y="2839"/>
                  </a:lnTo>
                  <a:lnTo>
                    <a:pt x="1200" y="2908"/>
                  </a:lnTo>
                  <a:lnTo>
                    <a:pt x="1200" y="2997"/>
                  </a:lnTo>
                  <a:lnTo>
                    <a:pt x="1200" y="3096"/>
                  </a:lnTo>
                  <a:lnTo>
                    <a:pt x="1200" y="3202"/>
                  </a:lnTo>
                  <a:lnTo>
                    <a:pt x="1200" y="3308"/>
                  </a:lnTo>
                  <a:lnTo>
                    <a:pt x="1200" y="3409"/>
                  </a:lnTo>
                  <a:lnTo>
                    <a:pt x="1200" y="3496"/>
                  </a:lnTo>
                  <a:lnTo>
                    <a:pt x="1200" y="3568"/>
                  </a:lnTo>
                  <a:lnTo>
                    <a:pt x="1200" y="3613"/>
                  </a:lnTo>
                  <a:lnTo>
                    <a:pt x="1200" y="3630"/>
                  </a:lnTo>
                  <a:lnTo>
                    <a:pt x="1202" y="3649"/>
                  </a:lnTo>
                  <a:lnTo>
                    <a:pt x="1216" y="3688"/>
                  </a:lnTo>
                  <a:lnTo>
                    <a:pt x="1263" y="3717"/>
                  </a:lnTo>
                  <a:lnTo>
                    <a:pt x="1303" y="3714"/>
                  </a:lnTo>
                  <a:lnTo>
                    <a:pt x="1336" y="3688"/>
                  </a:lnTo>
                  <a:lnTo>
                    <a:pt x="1350" y="3642"/>
                  </a:lnTo>
                  <a:lnTo>
                    <a:pt x="1350" y="3576"/>
                  </a:lnTo>
                  <a:lnTo>
                    <a:pt x="1350" y="3456"/>
                  </a:lnTo>
                  <a:lnTo>
                    <a:pt x="1350" y="3390"/>
                  </a:lnTo>
                  <a:lnTo>
                    <a:pt x="1268" y="3390"/>
                  </a:lnTo>
                  <a:lnTo>
                    <a:pt x="1268" y="3127"/>
                  </a:lnTo>
                  <a:lnTo>
                    <a:pt x="1638" y="3127"/>
                  </a:lnTo>
                  <a:lnTo>
                    <a:pt x="1638" y="3482"/>
                  </a:lnTo>
                  <a:lnTo>
                    <a:pt x="1649" y="3482"/>
                  </a:lnTo>
                  <a:lnTo>
                    <a:pt x="1638" y="3482"/>
                  </a:lnTo>
                  <a:close/>
                </a:path>
              </a:pathLst>
            </a:custGeom>
            <a:solidFill>
              <a:srgbClr val="0079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1" name="Freeform 62"/>
            <p:cNvSpPr>
              <a:spLocks noEditPoints="1"/>
            </p:cNvSpPr>
            <p:nvPr/>
          </p:nvSpPr>
          <p:spPr bwMode="auto">
            <a:xfrm>
              <a:off x="19995" y="1044"/>
              <a:ext cx="231" cy="231"/>
            </a:xfrm>
            <a:custGeom>
              <a:avLst/>
              <a:gdLst>
                <a:gd name="T0" fmla="*/ 1 w 461"/>
                <a:gd name="T1" fmla="*/ 1 h 460"/>
                <a:gd name="T2" fmla="*/ 1 w 461"/>
                <a:gd name="T3" fmla="*/ 1 h 460"/>
                <a:gd name="T4" fmla="*/ 1 w 461"/>
                <a:gd name="T5" fmla="*/ 1 h 460"/>
                <a:gd name="T6" fmla="*/ 1 w 461"/>
                <a:gd name="T7" fmla="*/ 1 h 460"/>
                <a:gd name="T8" fmla="*/ 1 w 461"/>
                <a:gd name="T9" fmla="*/ 1 h 460"/>
                <a:gd name="T10" fmla="*/ 1 w 461"/>
                <a:gd name="T11" fmla="*/ 1 h 460"/>
                <a:gd name="T12" fmla="*/ 1 w 461"/>
                <a:gd name="T13" fmla="*/ 1 h 460"/>
                <a:gd name="T14" fmla="*/ 1 w 461"/>
                <a:gd name="T15" fmla="*/ 1 h 460"/>
                <a:gd name="T16" fmla="*/ 1 w 461"/>
                <a:gd name="T17" fmla="*/ 1 h 460"/>
                <a:gd name="T18" fmla="*/ 1 w 461"/>
                <a:gd name="T19" fmla="*/ 1 h 460"/>
                <a:gd name="T20" fmla="*/ 0 w 461"/>
                <a:gd name="T21" fmla="*/ 1 h 460"/>
                <a:gd name="T22" fmla="*/ 1 w 461"/>
                <a:gd name="T23" fmla="*/ 1 h 460"/>
                <a:gd name="T24" fmla="*/ 1 w 461"/>
                <a:gd name="T25" fmla="*/ 1 h 460"/>
                <a:gd name="T26" fmla="*/ 1 w 461"/>
                <a:gd name="T27" fmla="*/ 1 h 460"/>
                <a:gd name="T28" fmla="*/ 1 w 461"/>
                <a:gd name="T29" fmla="*/ 1 h 460"/>
                <a:gd name="T30" fmla="*/ 1 w 461"/>
                <a:gd name="T31" fmla="*/ 1 h 460"/>
                <a:gd name="T32" fmla="*/ 1 w 461"/>
                <a:gd name="T33" fmla="*/ 1 h 460"/>
                <a:gd name="T34" fmla="*/ 1 w 461"/>
                <a:gd name="T35" fmla="*/ 1 h 460"/>
                <a:gd name="T36" fmla="*/ 1 w 461"/>
                <a:gd name="T37" fmla="*/ 1 h 460"/>
                <a:gd name="T38" fmla="*/ 1 w 461"/>
                <a:gd name="T39" fmla="*/ 0 h 460"/>
                <a:gd name="T40" fmla="*/ 1 w 461"/>
                <a:gd name="T41" fmla="*/ 1 h 460"/>
                <a:gd name="T42" fmla="*/ 1 w 461"/>
                <a:gd name="T43" fmla="*/ 1 h 460"/>
                <a:gd name="T44" fmla="*/ 0 w 461"/>
                <a:gd name="T45" fmla="*/ 1 h 460"/>
                <a:gd name="T46" fmla="*/ 1 w 461"/>
                <a:gd name="T47" fmla="*/ 1 h 460"/>
                <a:gd name="T48" fmla="*/ 1 w 461"/>
                <a:gd name="T49" fmla="*/ 1 h 460"/>
                <a:gd name="T50" fmla="*/ 1 w 461"/>
                <a:gd name="T51" fmla="*/ 1 h 460"/>
                <a:gd name="T52" fmla="*/ 1 w 461"/>
                <a:gd name="T53" fmla="*/ 1 h 460"/>
                <a:gd name="T54" fmla="*/ 1 w 461"/>
                <a:gd name="T55" fmla="*/ 1 h 460"/>
                <a:gd name="T56" fmla="*/ 1 w 461"/>
                <a:gd name="T57" fmla="*/ 1 h 460"/>
                <a:gd name="T58" fmla="*/ 1 w 461"/>
                <a:gd name="T59" fmla="*/ 1 h 460"/>
                <a:gd name="T60" fmla="*/ 1 w 461"/>
                <a:gd name="T61" fmla="*/ 1 h 460"/>
                <a:gd name="T62" fmla="*/ 1 w 461"/>
                <a:gd name="T63" fmla="*/ 1 h 460"/>
                <a:gd name="T64" fmla="*/ 1 w 461"/>
                <a:gd name="T65" fmla="*/ 1 h 460"/>
                <a:gd name="T66" fmla="*/ 1 w 461"/>
                <a:gd name="T67" fmla="*/ 1 h 460"/>
                <a:gd name="T68" fmla="*/ 1 w 461"/>
                <a:gd name="T69" fmla="*/ 1 h 460"/>
                <a:gd name="T70" fmla="*/ 1 w 461"/>
                <a:gd name="T71" fmla="*/ 1 h 460"/>
                <a:gd name="T72" fmla="*/ 1 w 461"/>
                <a:gd name="T73" fmla="*/ 1 h 460"/>
                <a:gd name="T74" fmla="*/ 1 w 461"/>
                <a:gd name="T75" fmla="*/ 1 h 460"/>
                <a:gd name="T76" fmla="*/ 1 w 461"/>
                <a:gd name="T77" fmla="*/ 1 h 460"/>
                <a:gd name="T78" fmla="*/ 1 w 461"/>
                <a:gd name="T79" fmla="*/ 1 h 460"/>
                <a:gd name="T80" fmla="*/ 1 w 461"/>
                <a:gd name="T81" fmla="*/ 1 h 460"/>
                <a:gd name="T82" fmla="*/ 1 w 461"/>
                <a:gd name="T83" fmla="*/ 1 h 460"/>
                <a:gd name="T84" fmla="*/ 1 w 461"/>
                <a:gd name="T85" fmla="*/ 1 h 460"/>
                <a:gd name="T86" fmla="*/ 1 w 461"/>
                <a:gd name="T87" fmla="*/ 1 h 46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61" h="460">
                  <a:moveTo>
                    <a:pt x="42" y="228"/>
                  </a:moveTo>
                  <a:lnTo>
                    <a:pt x="56" y="153"/>
                  </a:lnTo>
                  <a:lnTo>
                    <a:pt x="96" y="91"/>
                  </a:lnTo>
                  <a:lnTo>
                    <a:pt x="157" y="49"/>
                  </a:lnTo>
                  <a:lnTo>
                    <a:pt x="231" y="35"/>
                  </a:lnTo>
                  <a:lnTo>
                    <a:pt x="306" y="49"/>
                  </a:lnTo>
                  <a:lnTo>
                    <a:pt x="365" y="91"/>
                  </a:lnTo>
                  <a:lnTo>
                    <a:pt x="405" y="153"/>
                  </a:lnTo>
                  <a:lnTo>
                    <a:pt x="419" y="228"/>
                  </a:lnTo>
                  <a:lnTo>
                    <a:pt x="405" y="306"/>
                  </a:lnTo>
                  <a:lnTo>
                    <a:pt x="365" y="369"/>
                  </a:lnTo>
                  <a:lnTo>
                    <a:pt x="306" y="411"/>
                  </a:lnTo>
                  <a:lnTo>
                    <a:pt x="231" y="425"/>
                  </a:lnTo>
                  <a:lnTo>
                    <a:pt x="157" y="411"/>
                  </a:lnTo>
                  <a:lnTo>
                    <a:pt x="96" y="369"/>
                  </a:lnTo>
                  <a:lnTo>
                    <a:pt x="56" y="306"/>
                  </a:lnTo>
                  <a:lnTo>
                    <a:pt x="42" y="228"/>
                  </a:lnTo>
                  <a:close/>
                  <a:moveTo>
                    <a:pt x="0" y="228"/>
                  </a:moveTo>
                  <a:lnTo>
                    <a:pt x="12" y="303"/>
                  </a:lnTo>
                  <a:lnTo>
                    <a:pt x="45" y="367"/>
                  </a:lnTo>
                  <a:lnTo>
                    <a:pt x="96" y="416"/>
                  </a:lnTo>
                  <a:lnTo>
                    <a:pt x="158" y="447"/>
                  </a:lnTo>
                  <a:lnTo>
                    <a:pt x="231" y="460"/>
                  </a:lnTo>
                  <a:lnTo>
                    <a:pt x="303" y="447"/>
                  </a:lnTo>
                  <a:lnTo>
                    <a:pt x="367" y="416"/>
                  </a:lnTo>
                  <a:lnTo>
                    <a:pt x="416" y="367"/>
                  </a:lnTo>
                  <a:lnTo>
                    <a:pt x="449" y="303"/>
                  </a:lnTo>
                  <a:lnTo>
                    <a:pt x="461" y="228"/>
                  </a:lnTo>
                  <a:lnTo>
                    <a:pt x="449" y="155"/>
                  </a:lnTo>
                  <a:lnTo>
                    <a:pt x="416" y="93"/>
                  </a:lnTo>
                  <a:lnTo>
                    <a:pt x="367" y="44"/>
                  </a:lnTo>
                  <a:lnTo>
                    <a:pt x="303" y="12"/>
                  </a:lnTo>
                  <a:lnTo>
                    <a:pt x="231" y="0"/>
                  </a:lnTo>
                  <a:lnTo>
                    <a:pt x="158" y="12"/>
                  </a:lnTo>
                  <a:lnTo>
                    <a:pt x="96" y="44"/>
                  </a:lnTo>
                  <a:lnTo>
                    <a:pt x="45" y="93"/>
                  </a:lnTo>
                  <a:lnTo>
                    <a:pt x="12" y="155"/>
                  </a:lnTo>
                  <a:lnTo>
                    <a:pt x="0" y="228"/>
                  </a:lnTo>
                  <a:close/>
                  <a:moveTo>
                    <a:pt x="141" y="364"/>
                  </a:moveTo>
                  <a:lnTo>
                    <a:pt x="183" y="364"/>
                  </a:lnTo>
                  <a:lnTo>
                    <a:pt x="183" y="247"/>
                  </a:lnTo>
                  <a:lnTo>
                    <a:pt x="228" y="247"/>
                  </a:lnTo>
                  <a:lnTo>
                    <a:pt x="301" y="364"/>
                  </a:lnTo>
                  <a:lnTo>
                    <a:pt x="346" y="364"/>
                  </a:lnTo>
                  <a:lnTo>
                    <a:pt x="325" y="333"/>
                  </a:lnTo>
                  <a:lnTo>
                    <a:pt x="289" y="275"/>
                  </a:lnTo>
                  <a:lnTo>
                    <a:pt x="270" y="244"/>
                  </a:lnTo>
                  <a:lnTo>
                    <a:pt x="304" y="235"/>
                  </a:lnTo>
                  <a:lnTo>
                    <a:pt x="331" y="213"/>
                  </a:lnTo>
                  <a:lnTo>
                    <a:pt x="339" y="173"/>
                  </a:lnTo>
                  <a:lnTo>
                    <a:pt x="329" y="131"/>
                  </a:lnTo>
                  <a:lnTo>
                    <a:pt x="298" y="105"/>
                  </a:lnTo>
                  <a:lnTo>
                    <a:pt x="245" y="96"/>
                  </a:lnTo>
                  <a:lnTo>
                    <a:pt x="219" y="96"/>
                  </a:lnTo>
                  <a:lnTo>
                    <a:pt x="169" y="96"/>
                  </a:lnTo>
                  <a:lnTo>
                    <a:pt x="141" y="96"/>
                  </a:lnTo>
                  <a:lnTo>
                    <a:pt x="141" y="364"/>
                  </a:lnTo>
                  <a:close/>
                  <a:moveTo>
                    <a:pt x="183" y="129"/>
                  </a:moveTo>
                  <a:lnTo>
                    <a:pt x="198" y="129"/>
                  </a:lnTo>
                  <a:lnTo>
                    <a:pt x="224" y="129"/>
                  </a:lnTo>
                  <a:lnTo>
                    <a:pt x="238" y="129"/>
                  </a:lnTo>
                  <a:lnTo>
                    <a:pt x="266" y="133"/>
                  </a:lnTo>
                  <a:lnTo>
                    <a:pt x="289" y="145"/>
                  </a:lnTo>
                  <a:lnTo>
                    <a:pt x="298" y="171"/>
                  </a:lnTo>
                  <a:lnTo>
                    <a:pt x="287" y="202"/>
                  </a:lnTo>
                  <a:lnTo>
                    <a:pt x="261" y="213"/>
                  </a:lnTo>
                  <a:lnTo>
                    <a:pt x="226" y="216"/>
                  </a:lnTo>
                  <a:lnTo>
                    <a:pt x="216" y="216"/>
                  </a:lnTo>
                  <a:lnTo>
                    <a:pt x="195" y="216"/>
                  </a:lnTo>
                  <a:lnTo>
                    <a:pt x="183" y="216"/>
                  </a:lnTo>
                  <a:lnTo>
                    <a:pt x="183" y="129"/>
                  </a:lnTo>
                  <a:close/>
                </a:path>
              </a:pathLst>
            </a:custGeom>
            <a:solidFill>
              <a:srgbClr val="0079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</p:grpSp>
      <p:sp>
        <p:nvSpPr>
          <p:cNvPr id="12" name="Line 2"/>
          <p:cNvSpPr>
            <a:spLocks noChangeShapeType="1"/>
          </p:cNvSpPr>
          <p:nvPr/>
        </p:nvSpPr>
        <p:spPr bwMode="auto">
          <a:xfrm>
            <a:off x="0" y="3429000"/>
            <a:ext cx="9140825" cy="0"/>
          </a:xfrm>
          <a:prstGeom prst="line">
            <a:avLst/>
          </a:prstGeom>
          <a:noFill/>
          <a:ln w="25400">
            <a:solidFill>
              <a:srgbClr val="FAA53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151" name="Rectangle 79"/>
          <p:cNvSpPr>
            <a:spLocks noGrp="1" noChangeArrowheads="1"/>
          </p:cNvSpPr>
          <p:nvPr>
            <p:ph type="subTitle" idx="1"/>
          </p:nvPr>
        </p:nvSpPr>
        <p:spPr>
          <a:xfrm>
            <a:off x="2806700" y="4724400"/>
            <a:ext cx="5867400" cy="762000"/>
          </a:xfrm>
        </p:spPr>
        <p:txBody>
          <a:bodyPr lIns="228600"/>
          <a:lstStyle>
            <a:lvl1pPr algn="r">
              <a:defRPr b="0" cap="all" baseline="0">
                <a:solidFill>
                  <a:srgbClr val="006699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790825" y="3505200"/>
            <a:ext cx="5895975" cy="1046440"/>
          </a:xfrm>
        </p:spPr>
        <p:txBody>
          <a:bodyPr lIns="228557" bIns="0" anchor="t">
            <a:spAutoFit/>
          </a:bodyPr>
          <a:lstStyle>
            <a:lvl1pPr algn="r">
              <a:defRPr sz="3400">
                <a:solidFill>
                  <a:srgbClr val="00669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30676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383257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50950"/>
            <a:ext cx="4038600" cy="467995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9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50950"/>
            <a:ext cx="4038600" cy="467995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9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35987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68707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198204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15541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97908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30842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46508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8"/>
          <p:cNvSpPr txBox="1">
            <a:spLocks noChangeArrowheads="1"/>
          </p:cNvSpPr>
          <p:nvPr/>
        </p:nvSpPr>
        <p:spPr bwMode="white">
          <a:xfrm>
            <a:off x="6781800" y="381000"/>
            <a:ext cx="1981200" cy="122238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-128"/>
              </a:defRPr>
            </a:lvl1pPr>
            <a:lvl2pPr marL="37931725" indent="-37474525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-128"/>
              </a:defRPr>
            </a:lvl2pPr>
            <a:lvl3pPr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-128"/>
              </a:defRPr>
            </a:lvl3pPr>
            <a:lvl4pPr indent="137160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-128"/>
              </a:defRPr>
            </a:lvl4pPr>
            <a:lvl5pPr indent="182880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-128"/>
              </a:defRPr>
            </a:lvl5pPr>
            <a:lvl6pPr marL="457200" indent="18288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-128"/>
              </a:defRPr>
            </a:lvl6pPr>
            <a:lvl7pPr marL="914400" indent="18288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-128"/>
              </a:defRPr>
            </a:lvl7pPr>
            <a:lvl8pPr marL="1371600" indent="18288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-128"/>
              </a:defRPr>
            </a:lvl8pPr>
            <a:lvl9pPr marL="1828800" indent="18288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-128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0"/>
              </a:spcBef>
              <a:defRPr/>
            </a:pPr>
            <a:fld id="{2706D2EB-B95B-43A7-9B4C-247F91EFF5AC}" type="slidenum">
              <a:rPr lang="en-US" sz="900" b="1" smtClean="0">
                <a:solidFill>
                  <a:srgbClr val="FFFFFF"/>
                </a:solidFill>
              </a:rPr>
              <a:pPr algn="r" fontAlgn="base">
                <a:lnSpc>
                  <a:spcPct val="90000"/>
                </a:lnSpc>
                <a:spcBef>
                  <a:spcPct val="0"/>
                </a:spcBef>
                <a:defRPr/>
              </a:pPr>
              <a:t>‹#›</a:t>
            </a:fld>
            <a:endParaRPr lang="en-US" sz="900" b="1" dirty="0">
              <a:solidFill>
                <a:srgbClr val="FFFFFF"/>
              </a:solidFill>
            </a:endParaRPr>
          </a:p>
        </p:txBody>
      </p:sp>
      <p:sp>
        <p:nvSpPr>
          <p:cNvPr id="63490" name="Rectangle 2"/>
          <p:cNvSpPr>
            <a:spLocks noGrp="1" noChangeArrowheads="1"/>
          </p:cNvSpPr>
          <p:nvPr>
            <p:ph type="ctrTitle"/>
          </p:nvPr>
        </p:nvSpPr>
        <p:spPr bwMode="white">
          <a:xfrm>
            <a:off x="1524000" y="1828800"/>
            <a:ext cx="7239000" cy="1193800"/>
          </a:xfrm>
        </p:spPr>
        <p:txBody>
          <a:bodyPr/>
          <a:lstStyle>
            <a:lvl1pPr>
              <a:defRPr sz="4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63491" name="Rectangle 3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1524000" y="3200400"/>
            <a:ext cx="7239000" cy="301625"/>
          </a:xfrm>
        </p:spPr>
        <p:txBody>
          <a:bodyPr/>
          <a:lstStyle>
            <a:lvl1pPr>
              <a:spcBef>
                <a:spcPct val="0"/>
              </a:spcBef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14351559"/>
      </p:ext>
    </p:extLst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48828328"/>
      </p:ext>
    </p:extLst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6252495"/>
      </p:ext>
    </p:extLst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3" Type="http://schemas.openxmlformats.org/officeDocument/2006/relationships/slideLayout" Target="../slideLayouts/slideLayout21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3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22.xml"/><Relationship Id="rId9" Type="http://schemas.openxmlformats.org/officeDocument/2006/relationships/tags" Target="../tags/tag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3" Type="http://schemas.openxmlformats.org/officeDocument/2006/relationships/slideLayout" Target="../slideLayouts/slideLayout27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9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28.xml"/><Relationship Id="rId9" Type="http://schemas.openxmlformats.org/officeDocument/2006/relationships/tags" Target="../tags/tag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.vml"/><Relationship Id="rId3" Type="http://schemas.openxmlformats.org/officeDocument/2006/relationships/slideLayout" Target="../slideLayouts/slideLayout33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35.xml"/><Relationship Id="rId10" Type="http://schemas.openxmlformats.org/officeDocument/2006/relationships/oleObject" Target="../embeddings/oleObject4.bin"/><Relationship Id="rId4" Type="http://schemas.openxmlformats.org/officeDocument/2006/relationships/slideLayout" Target="../slideLayouts/slideLayout34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3181778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2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541463" y="-4763"/>
            <a:ext cx="7450137" cy="79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45711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50950"/>
            <a:ext cx="8229600" cy="4679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028" name="Group 8"/>
          <p:cNvGrpSpPr>
            <a:grpSpLocks/>
          </p:cNvGrpSpPr>
          <p:nvPr/>
        </p:nvGrpSpPr>
        <p:grpSpPr bwMode="auto">
          <a:xfrm>
            <a:off x="101600" y="104775"/>
            <a:ext cx="668338" cy="685800"/>
            <a:chOff x="18142" y="955"/>
            <a:chExt cx="2084" cy="2140"/>
          </a:xfrm>
        </p:grpSpPr>
        <p:sp>
          <p:nvSpPr>
            <p:cNvPr id="1032" name="Rectangle 9"/>
            <p:cNvSpPr>
              <a:spLocks noChangeArrowheads="1"/>
            </p:cNvSpPr>
            <p:nvPr/>
          </p:nvSpPr>
          <p:spPr bwMode="auto">
            <a:xfrm>
              <a:off x="18142" y="955"/>
              <a:ext cx="1871" cy="214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en-US" sz="1600" dirty="0">
                <a:solidFill>
                  <a:srgbClr val="333333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033" name="Freeform 10"/>
            <p:cNvSpPr>
              <a:spLocks/>
            </p:cNvSpPr>
            <p:nvPr/>
          </p:nvSpPr>
          <p:spPr bwMode="auto">
            <a:xfrm>
              <a:off x="19102" y="2392"/>
              <a:ext cx="396" cy="619"/>
            </a:xfrm>
            <a:custGeom>
              <a:avLst/>
              <a:gdLst>
                <a:gd name="T0" fmla="*/ 1 w 790"/>
                <a:gd name="T1" fmla="*/ 1 h 1238"/>
                <a:gd name="T2" fmla="*/ 0 w 790"/>
                <a:gd name="T3" fmla="*/ 1 h 1238"/>
                <a:gd name="T4" fmla="*/ 1 w 790"/>
                <a:gd name="T5" fmla="*/ 1 h 1238"/>
                <a:gd name="T6" fmla="*/ 1 w 790"/>
                <a:gd name="T7" fmla="*/ 1 h 1238"/>
                <a:gd name="T8" fmla="*/ 1 w 790"/>
                <a:gd name="T9" fmla="*/ 1 h 1238"/>
                <a:gd name="T10" fmla="*/ 1 w 790"/>
                <a:gd name="T11" fmla="*/ 1 h 1238"/>
                <a:gd name="T12" fmla="*/ 1 w 790"/>
                <a:gd name="T13" fmla="*/ 1 h 1238"/>
                <a:gd name="T14" fmla="*/ 1 w 790"/>
                <a:gd name="T15" fmla="*/ 1 h 1238"/>
                <a:gd name="T16" fmla="*/ 1 w 790"/>
                <a:gd name="T17" fmla="*/ 1 h 1238"/>
                <a:gd name="T18" fmla="*/ 1 w 790"/>
                <a:gd name="T19" fmla="*/ 1 h 1238"/>
                <a:gd name="T20" fmla="*/ 1 w 790"/>
                <a:gd name="T21" fmla="*/ 1 h 1238"/>
                <a:gd name="T22" fmla="*/ 1 w 790"/>
                <a:gd name="T23" fmla="*/ 1 h 1238"/>
                <a:gd name="T24" fmla="*/ 1 w 790"/>
                <a:gd name="T25" fmla="*/ 1 h 1238"/>
                <a:gd name="T26" fmla="*/ 1 w 790"/>
                <a:gd name="T27" fmla="*/ 1 h 1238"/>
                <a:gd name="T28" fmla="*/ 1 w 790"/>
                <a:gd name="T29" fmla="*/ 0 h 1238"/>
                <a:gd name="T30" fmla="*/ 1 w 790"/>
                <a:gd name="T31" fmla="*/ 1 h 1238"/>
                <a:gd name="T32" fmla="*/ 1 w 790"/>
                <a:gd name="T33" fmla="*/ 1 h 1238"/>
                <a:gd name="T34" fmla="*/ 1 w 790"/>
                <a:gd name="T35" fmla="*/ 1 h 1238"/>
                <a:gd name="T36" fmla="*/ 1 w 790"/>
                <a:gd name="T37" fmla="*/ 1 h 1238"/>
                <a:gd name="T38" fmla="*/ 1 w 790"/>
                <a:gd name="T39" fmla="*/ 1 h 1238"/>
                <a:gd name="T40" fmla="*/ 1 w 790"/>
                <a:gd name="T41" fmla="*/ 1 h 1238"/>
                <a:gd name="T42" fmla="*/ 1 w 790"/>
                <a:gd name="T43" fmla="*/ 1 h 1238"/>
                <a:gd name="T44" fmla="*/ 1 w 790"/>
                <a:gd name="T45" fmla="*/ 1 h 1238"/>
                <a:gd name="T46" fmla="*/ 1 w 790"/>
                <a:gd name="T47" fmla="*/ 1 h 1238"/>
                <a:gd name="T48" fmla="*/ 1 w 790"/>
                <a:gd name="T49" fmla="*/ 1 h 1238"/>
                <a:gd name="T50" fmla="*/ 1 w 790"/>
                <a:gd name="T51" fmla="*/ 1 h 1238"/>
                <a:gd name="T52" fmla="*/ 1 w 790"/>
                <a:gd name="T53" fmla="*/ 1 h 1238"/>
                <a:gd name="T54" fmla="*/ 1 w 790"/>
                <a:gd name="T55" fmla="*/ 1 h 1238"/>
                <a:gd name="T56" fmla="*/ 1 w 790"/>
                <a:gd name="T57" fmla="*/ 1 h 1238"/>
                <a:gd name="T58" fmla="*/ 1 w 790"/>
                <a:gd name="T59" fmla="*/ 1 h 1238"/>
                <a:gd name="T60" fmla="*/ 1 w 790"/>
                <a:gd name="T61" fmla="*/ 1 h 1238"/>
                <a:gd name="T62" fmla="*/ 1 w 790"/>
                <a:gd name="T63" fmla="*/ 1 h 1238"/>
                <a:gd name="T64" fmla="*/ 1 w 790"/>
                <a:gd name="T65" fmla="*/ 1 h 1238"/>
                <a:gd name="T66" fmla="*/ 1 w 790"/>
                <a:gd name="T67" fmla="*/ 1 h 1238"/>
                <a:gd name="T68" fmla="*/ 1 w 790"/>
                <a:gd name="T69" fmla="*/ 1 h 1238"/>
                <a:gd name="T70" fmla="*/ 1 w 790"/>
                <a:gd name="T71" fmla="*/ 1 h 1238"/>
                <a:gd name="T72" fmla="*/ 1 w 790"/>
                <a:gd name="T73" fmla="*/ 1 h 1238"/>
                <a:gd name="T74" fmla="*/ 1 w 790"/>
                <a:gd name="T75" fmla="*/ 1 h 1238"/>
                <a:gd name="T76" fmla="*/ 1 w 790"/>
                <a:gd name="T77" fmla="*/ 1 h 1238"/>
                <a:gd name="T78" fmla="*/ 1 w 790"/>
                <a:gd name="T79" fmla="*/ 1 h 1238"/>
                <a:gd name="T80" fmla="*/ 1 w 790"/>
                <a:gd name="T81" fmla="*/ 1 h 1238"/>
                <a:gd name="T82" fmla="*/ 1 w 790"/>
                <a:gd name="T83" fmla="*/ 1 h 1238"/>
                <a:gd name="T84" fmla="*/ 1 w 790"/>
                <a:gd name="T85" fmla="*/ 1 h 1238"/>
                <a:gd name="T86" fmla="*/ 1 w 790"/>
                <a:gd name="T87" fmla="*/ 1 h 123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790" h="1238">
                  <a:moveTo>
                    <a:pt x="78" y="1113"/>
                  </a:moveTo>
                  <a:lnTo>
                    <a:pt x="31" y="1021"/>
                  </a:lnTo>
                  <a:lnTo>
                    <a:pt x="7" y="937"/>
                  </a:lnTo>
                  <a:lnTo>
                    <a:pt x="0" y="861"/>
                  </a:lnTo>
                  <a:lnTo>
                    <a:pt x="5" y="794"/>
                  </a:lnTo>
                  <a:lnTo>
                    <a:pt x="23" y="737"/>
                  </a:lnTo>
                  <a:lnTo>
                    <a:pt x="44" y="690"/>
                  </a:lnTo>
                  <a:lnTo>
                    <a:pt x="68" y="652"/>
                  </a:lnTo>
                  <a:lnTo>
                    <a:pt x="91" y="624"/>
                  </a:lnTo>
                  <a:lnTo>
                    <a:pt x="106" y="607"/>
                  </a:lnTo>
                  <a:lnTo>
                    <a:pt x="113" y="601"/>
                  </a:lnTo>
                  <a:lnTo>
                    <a:pt x="134" y="581"/>
                  </a:lnTo>
                  <a:lnTo>
                    <a:pt x="174" y="540"/>
                  </a:lnTo>
                  <a:lnTo>
                    <a:pt x="195" y="520"/>
                  </a:lnTo>
                  <a:lnTo>
                    <a:pt x="143" y="426"/>
                  </a:lnTo>
                  <a:lnTo>
                    <a:pt x="115" y="342"/>
                  </a:lnTo>
                  <a:lnTo>
                    <a:pt x="106" y="271"/>
                  </a:lnTo>
                  <a:lnTo>
                    <a:pt x="111" y="208"/>
                  </a:lnTo>
                  <a:lnTo>
                    <a:pt x="129" y="153"/>
                  </a:lnTo>
                  <a:lnTo>
                    <a:pt x="195" y="64"/>
                  </a:lnTo>
                  <a:lnTo>
                    <a:pt x="275" y="19"/>
                  </a:lnTo>
                  <a:lnTo>
                    <a:pt x="311" y="7"/>
                  </a:lnTo>
                  <a:lnTo>
                    <a:pt x="346" y="1"/>
                  </a:lnTo>
                  <a:lnTo>
                    <a:pt x="428" y="0"/>
                  </a:lnTo>
                  <a:lnTo>
                    <a:pt x="529" y="17"/>
                  </a:lnTo>
                  <a:lnTo>
                    <a:pt x="623" y="73"/>
                  </a:lnTo>
                  <a:lnTo>
                    <a:pt x="640" y="88"/>
                  </a:lnTo>
                  <a:lnTo>
                    <a:pt x="673" y="149"/>
                  </a:lnTo>
                  <a:lnTo>
                    <a:pt x="694" y="276"/>
                  </a:lnTo>
                  <a:lnTo>
                    <a:pt x="694" y="297"/>
                  </a:lnTo>
                  <a:lnTo>
                    <a:pt x="694" y="332"/>
                  </a:lnTo>
                  <a:lnTo>
                    <a:pt x="694" y="353"/>
                  </a:lnTo>
                  <a:lnTo>
                    <a:pt x="463" y="353"/>
                  </a:lnTo>
                  <a:lnTo>
                    <a:pt x="463" y="328"/>
                  </a:lnTo>
                  <a:lnTo>
                    <a:pt x="463" y="283"/>
                  </a:lnTo>
                  <a:lnTo>
                    <a:pt x="463" y="260"/>
                  </a:lnTo>
                  <a:lnTo>
                    <a:pt x="444" y="217"/>
                  </a:lnTo>
                  <a:lnTo>
                    <a:pt x="414" y="201"/>
                  </a:lnTo>
                  <a:lnTo>
                    <a:pt x="398" y="198"/>
                  </a:lnTo>
                  <a:lnTo>
                    <a:pt x="355" y="205"/>
                  </a:lnTo>
                  <a:lnTo>
                    <a:pt x="331" y="234"/>
                  </a:lnTo>
                  <a:lnTo>
                    <a:pt x="324" y="274"/>
                  </a:lnTo>
                  <a:lnTo>
                    <a:pt x="322" y="283"/>
                  </a:lnTo>
                  <a:lnTo>
                    <a:pt x="327" y="314"/>
                  </a:lnTo>
                  <a:lnTo>
                    <a:pt x="358" y="374"/>
                  </a:lnTo>
                  <a:lnTo>
                    <a:pt x="400" y="438"/>
                  </a:lnTo>
                  <a:lnTo>
                    <a:pt x="458" y="521"/>
                  </a:lnTo>
                  <a:lnTo>
                    <a:pt x="518" y="607"/>
                  </a:lnTo>
                  <a:lnTo>
                    <a:pt x="565" y="671"/>
                  </a:lnTo>
                  <a:lnTo>
                    <a:pt x="584" y="697"/>
                  </a:lnTo>
                  <a:lnTo>
                    <a:pt x="584" y="534"/>
                  </a:lnTo>
                  <a:lnTo>
                    <a:pt x="786" y="534"/>
                  </a:lnTo>
                  <a:lnTo>
                    <a:pt x="786" y="554"/>
                  </a:lnTo>
                  <a:lnTo>
                    <a:pt x="786" y="608"/>
                  </a:lnTo>
                  <a:lnTo>
                    <a:pt x="786" y="690"/>
                  </a:lnTo>
                  <a:lnTo>
                    <a:pt x="786" y="786"/>
                  </a:lnTo>
                  <a:lnTo>
                    <a:pt x="786" y="890"/>
                  </a:lnTo>
                  <a:lnTo>
                    <a:pt x="786" y="991"/>
                  </a:lnTo>
                  <a:lnTo>
                    <a:pt x="786" y="1080"/>
                  </a:lnTo>
                  <a:lnTo>
                    <a:pt x="788" y="1148"/>
                  </a:lnTo>
                  <a:lnTo>
                    <a:pt x="788" y="1184"/>
                  </a:lnTo>
                  <a:lnTo>
                    <a:pt x="790" y="1201"/>
                  </a:lnTo>
                  <a:lnTo>
                    <a:pt x="776" y="1229"/>
                  </a:lnTo>
                  <a:lnTo>
                    <a:pt x="722" y="1238"/>
                  </a:lnTo>
                  <a:lnTo>
                    <a:pt x="666" y="1238"/>
                  </a:lnTo>
                  <a:lnTo>
                    <a:pt x="544" y="1238"/>
                  </a:lnTo>
                  <a:lnTo>
                    <a:pt x="423" y="1238"/>
                  </a:lnTo>
                  <a:lnTo>
                    <a:pt x="369" y="1238"/>
                  </a:lnTo>
                  <a:lnTo>
                    <a:pt x="78" y="1113"/>
                  </a:lnTo>
                  <a:close/>
                </a:path>
              </a:pathLst>
            </a:custGeom>
            <a:solidFill>
              <a:srgbClr val="FFA9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34" name="Freeform 11"/>
            <p:cNvSpPr>
              <a:spLocks/>
            </p:cNvSpPr>
            <p:nvPr/>
          </p:nvSpPr>
          <p:spPr bwMode="auto">
            <a:xfrm>
              <a:off x="19221" y="2738"/>
              <a:ext cx="168" cy="173"/>
            </a:xfrm>
            <a:custGeom>
              <a:avLst/>
              <a:gdLst>
                <a:gd name="T0" fmla="*/ 1 w 336"/>
                <a:gd name="T1" fmla="*/ 1 h 343"/>
                <a:gd name="T2" fmla="*/ 1 w 336"/>
                <a:gd name="T3" fmla="*/ 1 h 343"/>
                <a:gd name="T4" fmla="*/ 1 w 336"/>
                <a:gd name="T5" fmla="*/ 1 h 343"/>
                <a:gd name="T6" fmla="*/ 1 w 336"/>
                <a:gd name="T7" fmla="*/ 1 h 343"/>
                <a:gd name="T8" fmla="*/ 1 w 336"/>
                <a:gd name="T9" fmla="*/ 1 h 343"/>
                <a:gd name="T10" fmla="*/ 1 w 336"/>
                <a:gd name="T11" fmla="*/ 1 h 343"/>
                <a:gd name="T12" fmla="*/ 1 w 336"/>
                <a:gd name="T13" fmla="*/ 1 h 343"/>
                <a:gd name="T14" fmla="*/ 1 w 336"/>
                <a:gd name="T15" fmla="*/ 0 h 343"/>
                <a:gd name="T16" fmla="*/ 1 w 336"/>
                <a:gd name="T17" fmla="*/ 0 h 343"/>
                <a:gd name="T18" fmla="*/ 1 w 336"/>
                <a:gd name="T19" fmla="*/ 1 h 343"/>
                <a:gd name="T20" fmla="*/ 1 w 336"/>
                <a:gd name="T21" fmla="*/ 1 h 343"/>
                <a:gd name="T22" fmla="*/ 0 w 336"/>
                <a:gd name="T23" fmla="*/ 1 h 343"/>
                <a:gd name="T24" fmla="*/ 1 w 336"/>
                <a:gd name="T25" fmla="*/ 1 h 343"/>
                <a:gd name="T26" fmla="*/ 1 w 336"/>
                <a:gd name="T27" fmla="*/ 1 h 343"/>
                <a:gd name="T28" fmla="*/ 1 w 336"/>
                <a:gd name="T29" fmla="*/ 1 h 343"/>
                <a:gd name="T30" fmla="*/ 1 w 336"/>
                <a:gd name="T31" fmla="*/ 1 h 343"/>
                <a:gd name="T32" fmla="*/ 1 w 336"/>
                <a:gd name="T33" fmla="*/ 1 h 343"/>
                <a:gd name="T34" fmla="*/ 1 w 336"/>
                <a:gd name="T35" fmla="*/ 1 h 343"/>
                <a:gd name="T36" fmla="*/ 1 w 336"/>
                <a:gd name="T37" fmla="*/ 1 h 343"/>
                <a:gd name="T38" fmla="*/ 1 w 336"/>
                <a:gd name="T39" fmla="*/ 1 h 343"/>
                <a:gd name="T40" fmla="*/ 1 w 336"/>
                <a:gd name="T41" fmla="*/ 1 h 343"/>
                <a:gd name="T42" fmla="*/ 1 w 336"/>
                <a:gd name="T43" fmla="*/ 1 h 34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336" h="343">
                  <a:moveTo>
                    <a:pt x="333" y="343"/>
                  </a:moveTo>
                  <a:lnTo>
                    <a:pt x="336" y="325"/>
                  </a:lnTo>
                  <a:lnTo>
                    <a:pt x="308" y="292"/>
                  </a:lnTo>
                  <a:lnTo>
                    <a:pt x="239" y="211"/>
                  </a:lnTo>
                  <a:lnTo>
                    <a:pt x="157" y="115"/>
                  </a:lnTo>
                  <a:lnTo>
                    <a:pt x="89" y="35"/>
                  </a:lnTo>
                  <a:lnTo>
                    <a:pt x="60" y="0"/>
                  </a:lnTo>
                  <a:lnTo>
                    <a:pt x="30" y="37"/>
                  </a:lnTo>
                  <a:lnTo>
                    <a:pt x="4" y="104"/>
                  </a:lnTo>
                  <a:lnTo>
                    <a:pt x="0" y="191"/>
                  </a:lnTo>
                  <a:lnTo>
                    <a:pt x="39" y="285"/>
                  </a:lnTo>
                  <a:lnTo>
                    <a:pt x="60" y="303"/>
                  </a:lnTo>
                  <a:lnTo>
                    <a:pt x="119" y="332"/>
                  </a:lnTo>
                  <a:lnTo>
                    <a:pt x="211" y="343"/>
                  </a:lnTo>
                  <a:lnTo>
                    <a:pt x="242" y="343"/>
                  </a:lnTo>
                  <a:lnTo>
                    <a:pt x="301" y="343"/>
                  </a:lnTo>
                  <a:lnTo>
                    <a:pt x="333" y="34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35" name="Freeform 12"/>
            <p:cNvSpPr>
              <a:spLocks/>
            </p:cNvSpPr>
            <p:nvPr/>
          </p:nvSpPr>
          <p:spPr bwMode="auto">
            <a:xfrm>
              <a:off x="19538" y="1039"/>
              <a:ext cx="391" cy="1977"/>
            </a:xfrm>
            <a:custGeom>
              <a:avLst/>
              <a:gdLst>
                <a:gd name="T0" fmla="*/ 0 w 785"/>
                <a:gd name="T1" fmla="*/ 0 h 3959"/>
                <a:gd name="T2" fmla="*/ 0 w 785"/>
                <a:gd name="T3" fmla="*/ 0 h 3959"/>
                <a:gd name="T4" fmla="*/ 0 w 785"/>
                <a:gd name="T5" fmla="*/ 0 h 3959"/>
                <a:gd name="T6" fmla="*/ 0 w 785"/>
                <a:gd name="T7" fmla="*/ 0 h 3959"/>
                <a:gd name="T8" fmla="*/ 0 w 785"/>
                <a:gd name="T9" fmla="*/ 0 h 3959"/>
                <a:gd name="T10" fmla="*/ 0 w 785"/>
                <a:gd name="T11" fmla="*/ 0 h 3959"/>
                <a:gd name="T12" fmla="*/ 0 w 785"/>
                <a:gd name="T13" fmla="*/ 0 h 3959"/>
                <a:gd name="T14" fmla="*/ 0 w 785"/>
                <a:gd name="T15" fmla="*/ 0 h 3959"/>
                <a:gd name="T16" fmla="*/ 0 w 785"/>
                <a:gd name="T17" fmla="*/ 0 h 3959"/>
                <a:gd name="T18" fmla="*/ 0 w 785"/>
                <a:gd name="T19" fmla="*/ 0 h 3959"/>
                <a:gd name="T20" fmla="*/ 0 w 785"/>
                <a:gd name="T21" fmla="*/ 0 h 3959"/>
                <a:gd name="T22" fmla="*/ 0 w 785"/>
                <a:gd name="T23" fmla="*/ 0 h 3959"/>
                <a:gd name="T24" fmla="*/ 0 w 785"/>
                <a:gd name="T25" fmla="*/ 0 h 3959"/>
                <a:gd name="T26" fmla="*/ 0 w 785"/>
                <a:gd name="T27" fmla="*/ 0 h 3959"/>
                <a:gd name="T28" fmla="*/ 0 w 785"/>
                <a:gd name="T29" fmla="*/ 0 h 3959"/>
                <a:gd name="T30" fmla="*/ 0 w 785"/>
                <a:gd name="T31" fmla="*/ 0 h 3959"/>
                <a:gd name="T32" fmla="*/ 0 w 785"/>
                <a:gd name="T33" fmla="*/ 0 h 39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785" h="3959">
                  <a:moveTo>
                    <a:pt x="0" y="0"/>
                  </a:moveTo>
                  <a:lnTo>
                    <a:pt x="0" y="3959"/>
                  </a:lnTo>
                  <a:lnTo>
                    <a:pt x="49" y="3959"/>
                  </a:lnTo>
                  <a:lnTo>
                    <a:pt x="49" y="2454"/>
                  </a:lnTo>
                  <a:lnTo>
                    <a:pt x="696" y="2454"/>
                  </a:lnTo>
                  <a:lnTo>
                    <a:pt x="696" y="2720"/>
                  </a:lnTo>
                  <a:lnTo>
                    <a:pt x="369" y="2720"/>
                  </a:lnTo>
                  <a:lnTo>
                    <a:pt x="369" y="3056"/>
                  </a:lnTo>
                  <a:lnTo>
                    <a:pt x="696" y="3056"/>
                  </a:lnTo>
                  <a:lnTo>
                    <a:pt x="696" y="3322"/>
                  </a:lnTo>
                  <a:lnTo>
                    <a:pt x="369" y="3322"/>
                  </a:lnTo>
                  <a:lnTo>
                    <a:pt x="369" y="3684"/>
                  </a:lnTo>
                  <a:lnTo>
                    <a:pt x="696" y="3684"/>
                  </a:lnTo>
                  <a:lnTo>
                    <a:pt x="696" y="3945"/>
                  </a:lnTo>
                  <a:lnTo>
                    <a:pt x="785" y="3945"/>
                  </a:lnTo>
                  <a:lnTo>
                    <a:pt x="78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9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36" name="Freeform 13"/>
            <p:cNvSpPr>
              <a:spLocks/>
            </p:cNvSpPr>
            <p:nvPr/>
          </p:nvSpPr>
          <p:spPr bwMode="auto">
            <a:xfrm>
              <a:off x="18424" y="2397"/>
              <a:ext cx="74" cy="218"/>
            </a:xfrm>
            <a:custGeom>
              <a:avLst/>
              <a:gdLst>
                <a:gd name="T0" fmla="*/ 0 w 152"/>
                <a:gd name="T1" fmla="*/ 0 h 435"/>
                <a:gd name="T2" fmla="*/ 0 w 152"/>
                <a:gd name="T3" fmla="*/ 1 h 435"/>
                <a:gd name="T4" fmla="*/ 0 w 152"/>
                <a:gd name="T5" fmla="*/ 1 h 435"/>
                <a:gd name="T6" fmla="*/ 0 w 152"/>
                <a:gd name="T7" fmla="*/ 1 h 435"/>
                <a:gd name="T8" fmla="*/ 0 w 152"/>
                <a:gd name="T9" fmla="*/ 1 h 435"/>
                <a:gd name="T10" fmla="*/ 0 w 152"/>
                <a:gd name="T11" fmla="*/ 1 h 435"/>
                <a:gd name="T12" fmla="*/ 0 w 152"/>
                <a:gd name="T13" fmla="*/ 1 h 435"/>
                <a:gd name="T14" fmla="*/ 0 w 152"/>
                <a:gd name="T15" fmla="*/ 1 h 435"/>
                <a:gd name="T16" fmla="*/ 0 w 152"/>
                <a:gd name="T17" fmla="*/ 1 h 435"/>
                <a:gd name="T18" fmla="*/ 0 w 152"/>
                <a:gd name="T19" fmla="*/ 1 h 435"/>
                <a:gd name="T20" fmla="*/ 0 w 152"/>
                <a:gd name="T21" fmla="*/ 1 h 435"/>
                <a:gd name="T22" fmla="*/ 0 w 152"/>
                <a:gd name="T23" fmla="*/ 1 h 435"/>
                <a:gd name="T24" fmla="*/ 0 w 152"/>
                <a:gd name="T25" fmla="*/ 1 h 435"/>
                <a:gd name="T26" fmla="*/ 0 w 152"/>
                <a:gd name="T27" fmla="*/ 1 h 435"/>
                <a:gd name="T28" fmla="*/ 0 w 152"/>
                <a:gd name="T29" fmla="*/ 1 h 435"/>
                <a:gd name="T30" fmla="*/ 0 w 152"/>
                <a:gd name="T31" fmla="*/ 1 h 435"/>
                <a:gd name="T32" fmla="*/ 0 w 152"/>
                <a:gd name="T33" fmla="*/ 1 h 435"/>
                <a:gd name="T34" fmla="*/ 0 w 152"/>
                <a:gd name="T35" fmla="*/ 1 h 435"/>
                <a:gd name="T36" fmla="*/ 0 w 152"/>
                <a:gd name="T37" fmla="*/ 0 h 435"/>
                <a:gd name="T38" fmla="*/ 0 w 152"/>
                <a:gd name="T39" fmla="*/ 0 h 43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2" h="435">
                  <a:moveTo>
                    <a:pt x="0" y="0"/>
                  </a:moveTo>
                  <a:lnTo>
                    <a:pt x="0" y="34"/>
                  </a:lnTo>
                  <a:lnTo>
                    <a:pt x="0" y="114"/>
                  </a:lnTo>
                  <a:lnTo>
                    <a:pt x="0" y="218"/>
                  </a:lnTo>
                  <a:lnTo>
                    <a:pt x="0" y="322"/>
                  </a:lnTo>
                  <a:lnTo>
                    <a:pt x="0" y="402"/>
                  </a:lnTo>
                  <a:lnTo>
                    <a:pt x="0" y="435"/>
                  </a:lnTo>
                  <a:lnTo>
                    <a:pt x="75" y="423"/>
                  </a:lnTo>
                  <a:lnTo>
                    <a:pt x="124" y="371"/>
                  </a:lnTo>
                  <a:lnTo>
                    <a:pt x="146" y="298"/>
                  </a:lnTo>
                  <a:lnTo>
                    <a:pt x="152" y="221"/>
                  </a:lnTo>
                  <a:lnTo>
                    <a:pt x="150" y="157"/>
                  </a:lnTo>
                  <a:lnTo>
                    <a:pt x="143" y="110"/>
                  </a:lnTo>
                  <a:lnTo>
                    <a:pt x="126" y="63"/>
                  </a:lnTo>
                  <a:lnTo>
                    <a:pt x="80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9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37" name="Freeform 14"/>
            <p:cNvSpPr>
              <a:spLocks/>
            </p:cNvSpPr>
            <p:nvPr/>
          </p:nvSpPr>
          <p:spPr bwMode="auto">
            <a:xfrm>
              <a:off x="18221" y="1039"/>
              <a:ext cx="1307" cy="1977"/>
            </a:xfrm>
            <a:custGeom>
              <a:avLst/>
              <a:gdLst>
                <a:gd name="T0" fmla="*/ 0 w 2616"/>
                <a:gd name="T1" fmla="*/ 0 h 3962"/>
                <a:gd name="T2" fmla="*/ 0 w 2616"/>
                <a:gd name="T3" fmla="*/ 0 h 3962"/>
                <a:gd name="T4" fmla="*/ 0 w 2616"/>
                <a:gd name="T5" fmla="*/ 0 h 3962"/>
                <a:gd name="T6" fmla="*/ 0 w 2616"/>
                <a:gd name="T7" fmla="*/ 0 h 3962"/>
                <a:gd name="T8" fmla="*/ 0 w 2616"/>
                <a:gd name="T9" fmla="*/ 0 h 3962"/>
                <a:gd name="T10" fmla="*/ 0 w 2616"/>
                <a:gd name="T11" fmla="*/ 0 h 3962"/>
                <a:gd name="T12" fmla="*/ 0 w 2616"/>
                <a:gd name="T13" fmla="*/ 0 h 3962"/>
                <a:gd name="T14" fmla="*/ 0 w 2616"/>
                <a:gd name="T15" fmla="*/ 0 h 3962"/>
                <a:gd name="T16" fmla="*/ 0 w 2616"/>
                <a:gd name="T17" fmla="*/ 0 h 3962"/>
                <a:gd name="T18" fmla="*/ 0 w 2616"/>
                <a:gd name="T19" fmla="*/ 0 h 3962"/>
                <a:gd name="T20" fmla="*/ 0 w 2616"/>
                <a:gd name="T21" fmla="*/ 0 h 3962"/>
                <a:gd name="T22" fmla="*/ 0 w 2616"/>
                <a:gd name="T23" fmla="*/ 0 h 3962"/>
                <a:gd name="T24" fmla="*/ 0 w 2616"/>
                <a:gd name="T25" fmla="*/ 0 h 3962"/>
                <a:gd name="T26" fmla="*/ 0 w 2616"/>
                <a:gd name="T27" fmla="*/ 0 h 3962"/>
                <a:gd name="T28" fmla="*/ 0 w 2616"/>
                <a:gd name="T29" fmla="*/ 0 h 3962"/>
                <a:gd name="T30" fmla="*/ 0 w 2616"/>
                <a:gd name="T31" fmla="*/ 0 h 3962"/>
                <a:gd name="T32" fmla="*/ 0 w 2616"/>
                <a:gd name="T33" fmla="*/ 0 h 3962"/>
                <a:gd name="T34" fmla="*/ 0 w 2616"/>
                <a:gd name="T35" fmla="*/ 0 h 3962"/>
                <a:gd name="T36" fmla="*/ 0 w 2616"/>
                <a:gd name="T37" fmla="*/ 0 h 3962"/>
                <a:gd name="T38" fmla="*/ 0 w 2616"/>
                <a:gd name="T39" fmla="*/ 0 h 3962"/>
                <a:gd name="T40" fmla="*/ 0 w 2616"/>
                <a:gd name="T41" fmla="*/ 0 h 3962"/>
                <a:gd name="T42" fmla="*/ 0 w 2616"/>
                <a:gd name="T43" fmla="*/ 0 h 3962"/>
                <a:gd name="T44" fmla="*/ 0 w 2616"/>
                <a:gd name="T45" fmla="*/ 0 h 3962"/>
                <a:gd name="T46" fmla="*/ 0 w 2616"/>
                <a:gd name="T47" fmla="*/ 0 h 3962"/>
                <a:gd name="T48" fmla="*/ 0 w 2616"/>
                <a:gd name="T49" fmla="*/ 0 h 3962"/>
                <a:gd name="T50" fmla="*/ 0 w 2616"/>
                <a:gd name="T51" fmla="*/ 0 h 3962"/>
                <a:gd name="T52" fmla="*/ 0 w 2616"/>
                <a:gd name="T53" fmla="*/ 0 h 3962"/>
                <a:gd name="T54" fmla="*/ 0 w 2616"/>
                <a:gd name="T55" fmla="*/ 0 h 3962"/>
                <a:gd name="T56" fmla="*/ 0 w 2616"/>
                <a:gd name="T57" fmla="*/ 0 h 3962"/>
                <a:gd name="T58" fmla="*/ 0 w 2616"/>
                <a:gd name="T59" fmla="*/ 0 h 3962"/>
                <a:gd name="T60" fmla="*/ 0 w 2616"/>
                <a:gd name="T61" fmla="*/ 0 h 3962"/>
                <a:gd name="T62" fmla="*/ 0 w 2616"/>
                <a:gd name="T63" fmla="*/ 0 h 3962"/>
                <a:gd name="T64" fmla="*/ 0 w 2616"/>
                <a:gd name="T65" fmla="*/ 0 h 3962"/>
                <a:gd name="T66" fmla="*/ 0 w 2616"/>
                <a:gd name="T67" fmla="*/ 0 h 3962"/>
                <a:gd name="T68" fmla="*/ 0 w 2616"/>
                <a:gd name="T69" fmla="*/ 0 h 3962"/>
                <a:gd name="T70" fmla="*/ 0 w 2616"/>
                <a:gd name="T71" fmla="*/ 0 h 3962"/>
                <a:gd name="T72" fmla="*/ 0 w 2616"/>
                <a:gd name="T73" fmla="*/ 0 h 3962"/>
                <a:gd name="T74" fmla="*/ 0 w 2616"/>
                <a:gd name="T75" fmla="*/ 0 h 3962"/>
                <a:gd name="T76" fmla="*/ 0 w 2616"/>
                <a:gd name="T77" fmla="*/ 0 h 3962"/>
                <a:gd name="T78" fmla="*/ 0 w 2616"/>
                <a:gd name="T79" fmla="*/ 0 h 3962"/>
                <a:gd name="T80" fmla="*/ 0 w 2616"/>
                <a:gd name="T81" fmla="*/ 0 h 3962"/>
                <a:gd name="T82" fmla="*/ 0 w 2616"/>
                <a:gd name="T83" fmla="*/ 0 h 3962"/>
                <a:gd name="T84" fmla="*/ 0 w 2616"/>
                <a:gd name="T85" fmla="*/ 0 h 396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616" h="3962">
                  <a:moveTo>
                    <a:pt x="1638" y="3482"/>
                  </a:moveTo>
                  <a:lnTo>
                    <a:pt x="2616" y="0"/>
                  </a:lnTo>
                  <a:lnTo>
                    <a:pt x="3" y="0"/>
                  </a:lnTo>
                  <a:lnTo>
                    <a:pt x="0" y="3962"/>
                  </a:lnTo>
                  <a:lnTo>
                    <a:pt x="96" y="3962"/>
                  </a:lnTo>
                  <a:lnTo>
                    <a:pt x="96" y="2447"/>
                  </a:lnTo>
                  <a:lnTo>
                    <a:pt x="405" y="2447"/>
                  </a:lnTo>
                  <a:lnTo>
                    <a:pt x="421" y="2447"/>
                  </a:lnTo>
                  <a:lnTo>
                    <a:pt x="466" y="2449"/>
                  </a:lnTo>
                  <a:lnTo>
                    <a:pt x="529" y="2458"/>
                  </a:lnTo>
                  <a:lnTo>
                    <a:pt x="602" y="2477"/>
                  </a:lnTo>
                  <a:lnTo>
                    <a:pt x="678" y="2513"/>
                  </a:lnTo>
                  <a:lnTo>
                    <a:pt x="748" y="2573"/>
                  </a:lnTo>
                  <a:lnTo>
                    <a:pt x="804" y="2656"/>
                  </a:lnTo>
                  <a:lnTo>
                    <a:pt x="828" y="2719"/>
                  </a:lnTo>
                  <a:lnTo>
                    <a:pt x="842" y="2790"/>
                  </a:lnTo>
                  <a:lnTo>
                    <a:pt x="850" y="2898"/>
                  </a:lnTo>
                  <a:lnTo>
                    <a:pt x="850" y="3002"/>
                  </a:lnTo>
                  <a:lnTo>
                    <a:pt x="842" y="3098"/>
                  </a:lnTo>
                  <a:lnTo>
                    <a:pt x="828" y="3171"/>
                  </a:lnTo>
                  <a:lnTo>
                    <a:pt x="817" y="3206"/>
                  </a:lnTo>
                  <a:lnTo>
                    <a:pt x="805" y="3228"/>
                  </a:lnTo>
                  <a:lnTo>
                    <a:pt x="779" y="3270"/>
                  </a:lnTo>
                  <a:lnTo>
                    <a:pt x="736" y="3322"/>
                  </a:lnTo>
                  <a:lnTo>
                    <a:pt x="675" y="3373"/>
                  </a:lnTo>
                  <a:lnTo>
                    <a:pt x="597" y="3408"/>
                  </a:lnTo>
                  <a:lnTo>
                    <a:pt x="496" y="3418"/>
                  </a:lnTo>
                  <a:lnTo>
                    <a:pt x="470" y="3418"/>
                  </a:lnTo>
                  <a:lnTo>
                    <a:pt x="421" y="3416"/>
                  </a:lnTo>
                  <a:lnTo>
                    <a:pt x="395" y="3414"/>
                  </a:lnTo>
                  <a:lnTo>
                    <a:pt x="395" y="3948"/>
                  </a:lnTo>
                  <a:lnTo>
                    <a:pt x="1117" y="3948"/>
                  </a:lnTo>
                  <a:lnTo>
                    <a:pt x="1104" y="3945"/>
                  </a:lnTo>
                  <a:lnTo>
                    <a:pt x="1073" y="3931"/>
                  </a:lnTo>
                  <a:lnTo>
                    <a:pt x="1031" y="3907"/>
                  </a:lnTo>
                  <a:lnTo>
                    <a:pt x="984" y="3867"/>
                  </a:lnTo>
                  <a:lnTo>
                    <a:pt x="943" y="3808"/>
                  </a:lnTo>
                  <a:lnTo>
                    <a:pt x="911" y="3728"/>
                  </a:lnTo>
                  <a:lnTo>
                    <a:pt x="899" y="3623"/>
                  </a:lnTo>
                  <a:lnTo>
                    <a:pt x="899" y="3609"/>
                  </a:lnTo>
                  <a:lnTo>
                    <a:pt x="899" y="3569"/>
                  </a:lnTo>
                  <a:lnTo>
                    <a:pt x="899" y="3507"/>
                  </a:lnTo>
                  <a:lnTo>
                    <a:pt x="899" y="3428"/>
                  </a:lnTo>
                  <a:lnTo>
                    <a:pt x="899" y="3340"/>
                  </a:lnTo>
                  <a:lnTo>
                    <a:pt x="899" y="3242"/>
                  </a:lnTo>
                  <a:lnTo>
                    <a:pt x="899" y="3143"/>
                  </a:lnTo>
                  <a:lnTo>
                    <a:pt x="899" y="3046"/>
                  </a:lnTo>
                  <a:lnTo>
                    <a:pt x="899" y="2957"/>
                  </a:lnTo>
                  <a:lnTo>
                    <a:pt x="899" y="2879"/>
                  </a:lnTo>
                  <a:lnTo>
                    <a:pt x="899" y="2816"/>
                  </a:lnTo>
                  <a:lnTo>
                    <a:pt x="899" y="2776"/>
                  </a:lnTo>
                  <a:lnTo>
                    <a:pt x="899" y="2762"/>
                  </a:lnTo>
                  <a:lnTo>
                    <a:pt x="897" y="2747"/>
                  </a:lnTo>
                  <a:lnTo>
                    <a:pt x="899" y="2708"/>
                  </a:lnTo>
                  <a:lnTo>
                    <a:pt x="908" y="2654"/>
                  </a:lnTo>
                  <a:lnTo>
                    <a:pt x="929" y="2593"/>
                  </a:lnTo>
                  <a:lnTo>
                    <a:pt x="969" y="2531"/>
                  </a:lnTo>
                  <a:lnTo>
                    <a:pt x="1033" y="2477"/>
                  </a:lnTo>
                  <a:lnTo>
                    <a:pt x="1127" y="2440"/>
                  </a:lnTo>
                  <a:lnTo>
                    <a:pt x="1139" y="2437"/>
                  </a:lnTo>
                  <a:lnTo>
                    <a:pt x="1172" y="2428"/>
                  </a:lnTo>
                  <a:lnTo>
                    <a:pt x="1223" y="2421"/>
                  </a:lnTo>
                  <a:lnTo>
                    <a:pt x="1285" y="2418"/>
                  </a:lnTo>
                  <a:lnTo>
                    <a:pt x="1355" y="2425"/>
                  </a:lnTo>
                  <a:lnTo>
                    <a:pt x="1426" y="2446"/>
                  </a:lnTo>
                  <a:lnTo>
                    <a:pt x="1494" y="2486"/>
                  </a:lnTo>
                  <a:lnTo>
                    <a:pt x="1557" y="2550"/>
                  </a:lnTo>
                  <a:lnTo>
                    <a:pt x="1565" y="2559"/>
                  </a:lnTo>
                  <a:lnTo>
                    <a:pt x="1588" y="2592"/>
                  </a:lnTo>
                  <a:lnTo>
                    <a:pt x="1612" y="2654"/>
                  </a:lnTo>
                  <a:lnTo>
                    <a:pt x="1628" y="2755"/>
                  </a:lnTo>
                  <a:lnTo>
                    <a:pt x="1624" y="2898"/>
                  </a:lnTo>
                  <a:lnTo>
                    <a:pt x="1550" y="2898"/>
                  </a:lnTo>
                  <a:lnTo>
                    <a:pt x="1411" y="2896"/>
                  </a:lnTo>
                  <a:lnTo>
                    <a:pt x="1334" y="2894"/>
                  </a:lnTo>
                  <a:lnTo>
                    <a:pt x="1334" y="2755"/>
                  </a:lnTo>
                  <a:lnTo>
                    <a:pt x="1331" y="2738"/>
                  </a:lnTo>
                  <a:lnTo>
                    <a:pt x="1311" y="2705"/>
                  </a:lnTo>
                  <a:lnTo>
                    <a:pt x="1266" y="2687"/>
                  </a:lnTo>
                  <a:lnTo>
                    <a:pt x="1221" y="2701"/>
                  </a:lnTo>
                  <a:lnTo>
                    <a:pt x="1204" y="2733"/>
                  </a:lnTo>
                  <a:lnTo>
                    <a:pt x="1200" y="2776"/>
                  </a:lnTo>
                  <a:lnTo>
                    <a:pt x="1200" y="2792"/>
                  </a:lnTo>
                  <a:lnTo>
                    <a:pt x="1200" y="2839"/>
                  </a:lnTo>
                  <a:lnTo>
                    <a:pt x="1200" y="2908"/>
                  </a:lnTo>
                  <a:lnTo>
                    <a:pt x="1200" y="2997"/>
                  </a:lnTo>
                  <a:lnTo>
                    <a:pt x="1200" y="3096"/>
                  </a:lnTo>
                  <a:lnTo>
                    <a:pt x="1200" y="3202"/>
                  </a:lnTo>
                  <a:lnTo>
                    <a:pt x="1200" y="3308"/>
                  </a:lnTo>
                  <a:lnTo>
                    <a:pt x="1200" y="3409"/>
                  </a:lnTo>
                  <a:lnTo>
                    <a:pt x="1200" y="3496"/>
                  </a:lnTo>
                  <a:lnTo>
                    <a:pt x="1200" y="3568"/>
                  </a:lnTo>
                  <a:lnTo>
                    <a:pt x="1200" y="3613"/>
                  </a:lnTo>
                  <a:lnTo>
                    <a:pt x="1200" y="3630"/>
                  </a:lnTo>
                  <a:lnTo>
                    <a:pt x="1202" y="3649"/>
                  </a:lnTo>
                  <a:lnTo>
                    <a:pt x="1216" y="3688"/>
                  </a:lnTo>
                  <a:lnTo>
                    <a:pt x="1263" y="3717"/>
                  </a:lnTo>
                  <a:lnTo>
                    <a:pt x="1303" y="3714"/>
                  </a:lnTo>
                  <a:lnTo>
                    <a:pt x="1336" y="3688"/>
                  </a:lnTo>
                  <a:lnTo>
                    <a:pt x="1350" y="3642"/>
                  </a:lnTo>
                  <a:lnTo>
                    <a:pt x="1350" y="3576"/>
                  </a:lnTo>
                  <a:lnTo>
                    <a:pt x="1350" y="3456"/>
                  </a:lnTo>
                  <a:lnTo>
                    <a:pt x="1350" y="3390"/>
                  </a:lnTo>
                  <a:lnTo>
                    <a:pt x="1268" y="3390"/>
                  </a:lnTo>
                  <a:lnTo>
                    <a:pt x="1268" y="3127"/>
                  </a:lnTo>
                  <a:lnTo>
                    <a:pt x="1638" y="3127"/>
                  </a:lnTo>
                  <a:lnTo>
                    <a:pt x="1638" y="3482"/>
                  </a:lnTo>
                  <a:lnTo>
                    <a:pt x="1649" y="3482"/>
                  </a:lnTo>
                  <a:lnTo>
                    <a:pt x="1638" y="3482"/>
                  </a:lnTo>
                  <a:close/>
                </a:path>
              </a:pathLst>
            </a:custGeom>
            <a:solidFill>
              <a:srgbClr val="0079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38" name="Freeform 15"/>
            <p:cNvSpPr>
              <a:spLocks noEditPoints="1"/>
            </p:cNvSpPr>
            <p:nvPr/>
          </p:nvSpPr>
          <p:spPr bwMode="auto">
            <a:xfrm>
              <a:off x="19993" y="1044"/>
              <a:ext cx="233" cy="233"/>
            </a:xfrm>
            <a:custGeom>
              <a:avLst/>
              <a:gdLst>
                <a:gd name="T0" fmla="*/ 1 w 461"/>
                <a:gd name="T1" fmla="*/ 1 h 460"/>
                <a:gd name="T2" fmla="*/ 1 w 461"/>
                <a:gd name="T3" fmla="*/ 1 h 460"/>
                <a:gd name="T4" fmla="*/ 1 w 461"/>
                <a:gd name="T5" fmla="*/ 1 h 460"/>
                <a:gd name="T6" fmla="*/ 1 w 461"/>
                <a:gd name="T7" fmla="*/ 1 h 460"/>
                <a:gd name="T8" fmla="*/ 1 w 461"/>
                <a:gd name="T9" fmla="*/ 1 h 460"/>
                <a:gd name="T10" fmla="*/ 1 w 461"/>
                <a:gd name="T11" fmla="*/ 1 h 460"/>
                <a:gd name="T12" fmla="*/ 1 w 461"/>
                <a:gd name="T13" fmla="*/ 1 h 460"/>
                <a:gd name="T14" fmla="*/ 1 w 461"/>
                <a:gd name="T15" fmla="*/ 1 h 460"/>
                <a:gd name="T16" fmla="*/ 1 w 461"/>
                <a:gd name="T17" fmla="*/ 1 h 460"/>
                <a:gd name="T18" fmla="*/ 1 w 461"/>
                <a:gd name="T19" fmla="*/ 1 h 460"/>
                <a:gd name="T20" fmla="*/ 0 w 461"/>
                <a:gd name="T21" fmla="*/ 1 h 460"/>
                <a:gd name="T22" fmla="*/ 1 w 461"/>
                <a:gd name="T23" fmla="*/ 1 h 460"/>
                <a:gd name="T24" fmla="*/ 1 w 461"/>
                <a:gd name="T25" fmla="*/ 1 h 460"/>
                <a:gd name="T26" fmla="*/ 1 w 461"/>
                <a:gd name="T27" fmla="*/ 1 h 460"/>
                <a:gd name="T28" fmla="*/ 1 w 461"/>
                <a:gd name="T29" fmla="*/ 1 h 460"/>
                <a:gd name="T30" fmla="*/ 1 w 461"/>
                <a:gd name="T31" fmla="*/ 1 h 460"/>
                <a:gd name="T32" fmla="*/ 1 w 461"/>
                <a:gd name="T33" fmla="*/ 1 h 460"/>
                <a:gd name="T34" fmla="*/ 1 w 461"/>
                <a:gd name="T35" fmla="*/ 1 h 460"/>
                <a:gd name="T36" fmla="*/ 1 w 461"/>
                <a:gd name="T37" fmla="*/ 1 h 460"/>
                <a:gd name="T38" fmla="*/ 1 w 461"/>
                <a:gd name="T39" fmla="*/ 0 h 460"/>
                <a:gd name="T40" fmla="*/ 1 w 461"/>
                <a:gd name="T41" fmla="*/ 1 h 460"/>
                <a:gd name="T42" fmla="*/ 1 w 461"/>
                <a:gd name="T43" fmla="*/ 1 h 460"/>
                <a:gd name="T44" fmla="*/ 0 w 461"/>
                <a:gd name="T45" fmla="*/ 1 h 460"/>
                <a:gd name="T46" fmla="*/ 1 w 461"/>
                <a:gd name="T47" fmla="*/ 1 h 460"/>
                <a:gd name="T48" fmla="*/ 1 w 461"/>
                <a:gd name="T49" fmla="*/ 1 h 460"/>
                <a:gd name="T50" fmla="*/ 1 w 461"/>
                <a:gd name="T51" fmla="*/ 1 h 460"/>
                <a:gd name="T52" fmla="*/ 1 w 461"/>
                <a:gd name="T53" fmla="*/ 1 h 460"/>
                <a:gd name="T54" fmla="*/ 1 w 461"/>
                <a:gd name="T55" fmla="*/ 1 h 460"/>
                <a:gd name="T56" fmla="*/ 1 w 461"/>
                <a:gd name="T57" fmla="*/ 1 h 460"/>
                <a:gd name="T58" fmla="*/ 1 w 461"/>
                <a:gd name="T59" fmla="*/ 1 h 460"/>
                <a:gd name="T60" fmla="*/ 1 w 461"/>
                <a:gd name="T61" fmla="*/ 1 h 460"/>
                <a:gd name="T62" fmla="*/ 1 w 461"/>
                <a:gd name="T63" fmla="*/ 1 h 460"/>
                <a:gd name="T64" fmla="*/ 1 w 461"/>
                <a:gd name="T65" fmla="*/ 1 h 460"/>
                <a:gd name="T66" fmla="*/ 1 w 461"/>
                <a:gd name="T67" fmla="*/ 1 h 460"/>
                <a:gd name="T68" fmla="*/ 1 w 461"/>
                <a:gd name="T69" fmla="*/ 1 h 460"/>
                <a:gd name="T70" fmla="*/ 1 w 461"/>
                <a:gd name="T71" fmla="*/ 1 h 460"/>
                <a:gd name="T72" fmla="*/ 1 w 461"/>
                <a:gd name="T73" fmla="*/ 1 h 460"/>
                <a:gd name="T74" fmla="*/ 1 w 461"/>
                <a:gd name="T75" fmla="*/ 1 h 460"/>
                <a:gd name="T76" fmla="*/ 1 w 461"/>
                <a:gd name="T77" fmla="*/ 1 h 460"/>
                <a:gd name="T78" fmla="*/ 1 w 461"/>
                <a:gd name="T79" fmla="*/ 1 h 460"/>
                <a:gd name="T80" fmla="*/ 1 w 461"/>
                <a:gd name="T81" fmla="*/ 1 h 460"/>
                <a:gd name="T82" fmla="*/ 1 w 461"/>
                <a:gd name="T83" fmla="*/ 1 h 460"/>
                <a:gd name="T84" fmla="*/ 1 w 461"/>
                <a:gd name="T85" fmla="*/ 1 h 460"/>
                <a:gd name="T86" fmla="*/ 1 w 461"/>
                <a:gd name="T87" fmla="*/ 1 h 46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61" h="460">
                  <a:moveTo>
                    <a:pt x="42" y="228"/>
                  </a:moveTo>
                  <a:lnTo>
                    <a:pt x="56" y="153"/>
                  </a:lnTo>
                  <a:lnTo>
                    <a:pt x="96" y="91"/>
                  </a:lnTo>
                  <a:lnTo>
                    <a:pt x="157" y="49"/>
                  </a:lnTo>
                  <a:lnTo>
                    <a:pt x="231" y="35"/>
                  </a:lnTo>
                  <a:lnTo>
                    <a:pt x="306" y="49"/>
                  </a:lnTo>
                  <a:lnTo>
                    <a:pt x="365" y="91"/>
                  </a:lnTo>
                  <a:lnTo>
                    <a:pt x="405" y="153"/>
                  </a:lnTo>
                  <a:lnTo>
                    <a:pt x="419" y="228"/>
                  </a:lnTo>
                  <a:lnTo>
                    <a:pt x="405" y="306"/>
                  </a:lnTo>
                  <a:lnTo>
                    <a:pt x="365" y="369"/>
                  </a:lnTo>
                  <a:lnTo>
                    <a:pt x="306" y="411"/>
                  </a:lnTo>
                  <a:lnTo>
                    <a:pt x="231" y="425"/>
                  </a:lnTo>
                  <a:lnTo>
                    <a:pt x="157" y="411"/>
                  </a:lnTo>
                  <a:lnTo>
                    <a:pt x="96" y="369"/>
                  </a:lnTo>
                  <a:lnTo>
                    <a:pt x="56" y="306"/>
                  </a:lnTo>
                  <a:lnTo>
                    <a:pt x="42" y="228"/>
                  </a:lnTo>
                  <a:close/>
                  <a:moveTo>
                    <a:pt x="0" y="228"/>
                  </a:moveTo>
                  <a:lnTo>
                    <a:pt x="12" y="303"/>
                  </a:lnTo>
                  <a:lnTo>
                    <a:pt x="45" y="367"/>
                  </a:lnTo>
                  <a:lnTo>
                    <a:pt x="96" y="416"/>
                  </a:lnTo>
                  <a:lnTo>
                    <a:pt x="158" y="447"/>
                  </a:lnTo>
                  <a:lnTo>
                    <a:pt x="231" y="460"/>
                  </a:lnTo>
                  <a:lnTo>
                    <a:pt x="303" y="447"/>
                  </a:lnTo>
                  <a:lnTo>
                    <a:pt x="367" y="416"/>
                  </a:lnTo>
                  <a:lnTo>
                    <a:pt x="416" y="367"/>
                  </a:lnTo>
                  <a:lnTo>
                    <a:pt x="449" y="303"/>
                  </a:lnTo>
                  <a:lnTo>
                    <a:pt x="461" y="228"/>
                  </a:lnTo>
                  <a:lnTo>
                    <a:pt x="449" y="155"/>
                  </a:lnTo>
                  <a:lnTo>
                    <a:pt x="416" y="93"/>
                  </a:lnTo>
                  <a:lnTo>
                    <a:pt x="367" y="44"/>
                  </a:lnTo>
                  <a:lnTo>
                    <a:pt x="303" y="12"/>
                  </a:lnTo>
                  <a:lnTo>
                    <a:pt x="231" y="0"/>
                  </a:lnTo>
                  <a:lnTo>
                    <a:pt x="158" y="12"/>
                  </a:lnTo>
                  <a:lnTo>
                    <a:pt x="96" y="44"/>
                  </a:lnTo>
                  <a:lnTo>
                    <a:pt x="45" y="93"/>
                  </a:lnTo>
                  <a:lnTo>
                    <a:pt x="12" y="155"/>
                  </a:lnTo>
                  <a:lnTo>
                    <a:pt x="0" y="228"/>
                  </a:lnTo>
                  <a:close/>
                  <a:moveTo>
                    <a:pt x="141" y="364"/>
                  </a:moveTo>
                  <a:lnTo>
                    <a:pt x="183" y="364"/>
                  </a:lnTo>
                  <a:lnTo>
                    <a:pt x="183" y="247"/>
                  </a:lnTo>
                  <a:lnTo>
                    <a:pt x="228" y="247"/>
                  </a:lnTo>
                  <a:lnTo>
                    <a:pt x="301" y="364"/>
                  </a:lnTo>
                  <a:lnTo>
                    <a:pt x="346" y="364"/>
                  </a:lnTo>
                  <a:lnTo>
                    <a:pt x="325" y="333"/>
                  </a:lnTo>
                  <a:lnTo>
                    <a:pt x="289" y="275"/>
                  </a:lnTo>
                  <a:lnTo>
                    <a:pt x="270" y="244"/>
                  </a:lnTo>
                  <a:lnTo>
                    <a:pt x="304" y="235"/>
                  </a:lnTo>
                  <a:lnTo>
                    <a:pt x="331" y="213"/>
                  </a:lnTo>
                  <a:lnTo>
                    <a:pt x="339" y="173"/>
                  </a:lnTo>
                  <a:lnTo>
                    <a:pt x="329" y="131"/>
                  </a:lnTo>
                  <a:lnTo>
                    <a:pt x="298" y="105"/>
                  </a:lnTo>
                  <a:lnTo>
                    <a:pt x="245" y="96"/>
                  </a:lnTo>
                  <a:lnTo>
                    <a:pt x="219" y="96"/>
                  </a:lnTo>
                  <a:lnTo>
                    <a:pt x="169" y="96"/>
                  </a:lnTo>
                  <a:lnTo>
                    <a:pt x="141" y="96"/>
                  </a:lnTo>
                  <a:lnTo>
                    <a:pt x="141" y="364"/>
                  </a:lnTo>
                  <a:close/>
                  <a:moveTo>
                    <a:pt x="183" y="129"/>
                  </a:moveTo>
                  <a:lnTo>
                    <a:pt x="198" y="129"/>
                  </a:lnTo>
                  <a:lnTo>
                    <a:pt x="224" y="129"/>
                  </a:lnTo>
                  <a:lnTo>
                    <a:pt x="238" y="129"/>
                  </a:lnTo>
                  <a:lnTo>
                    <a:pt x="266" y="133"/>
                  </a:lnTo>
                  <a:lnTo>
                    <a:pt x="289" y="145"/>
                  </a:lnTo>
                  <a:lnTo>
                    <a:pt x="298" y="171"/>
                  </a:lnTo>
                  <a:lnTo>
                    <a:pt x="287" y="202"/>
                  </a:lnTo>
                  <a:lnTo>
                    <a:pt x="261" y="213"/>
                  </a:lnTo>
                  <a:lnTo>
                    <a:pt x="226" y="216"/>
                  </a:lnTo>
                  <a:lnTo>
                    <a:pt x="216" y="216"/>
                  </a:lnTo>
                  <a:lnTo>
                    <a:pt x="195" y="216"/>
                  </a:lnTo>
                  <a:lnTo>
                    <a:pt x="183" y="216"/>
                  </a:lnTo>
                  <a:lnTo>
                    <a:pt x="183" y="129"/>
                  </a:lnTo>
                  <a:close/>
                </a:path>
              </a:pathLst>
            </a:custGeom>
            <a:solidFill>
              <a:srgbClr val="0079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</p:grpSp>
      <p:sp>
        <p:nvSpPr>
          <p:cNvPr id="1029" name="Line 2"/>
          <p:cNvSpPr>
            <a:spLocks noChangeShapeType="1"/>
          </p:cNvSpPr>
          <p:nvPr/>
        </p:nvSpPr>
        <p:spPr bwMode="auto">
          <a:xfrm>
            <a:off x="0" y="881063"/>
            <a:ext cx="9140825" cy="0"/>
          </a:xfrm>
          <a:prstGeom prst="line">
            <a:avLst/>
          </a:prstGeom>
          <a:noFill/>
          <a:ln w="25400">
            <a:solidFill>
              <a:srgbClr val="FAA53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31" name="TextBox 31"/>
          <p:cNvSpPr txBox="1">
            <a:spLocks noChangeArrowheads="1"/>
          </p:cNvSpPr>
          <p:nvPr/>
        </p:nvSpPr>
        <p:spPr bwMode="auto">
          <a:xfrm>
            <a:off x="8486775" y="6575425"/>
            <a:ext cx="6096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 eaLnBrk="0" hangingPunct="0"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 eaLnBrk="0" hangingPunct="0"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 eaLnBrk="0" hangingPunct="0"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 eaLnBrk="0" hangingPunct="0"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r">
              <a:defRPr/>
            </a:pPr>
            <a:fld id="{56EF491F-3E1B-464C-9C2E-B7093B1D379B}" type="slidenum">
              <a:rPr lang="en-US" sz="1000" smtClean="0"/>
              <a:pPr algn="r">
                <a:defRPr/>
              </a:pPr>
              <a:t>‹#›</a:t>
            </a:fld>
            <a:endParaRPr lang="en-US" sz="1000" dirty="0"/>
          </a:p>
        </p:txBody>
      </p:sp>
      <p:sp>
        <p:nvSpPr>
          <p:cNvPr id="2" name="TextBox 1"/>
          <p:cNvSpPr txBox="1"/>
          <p:nvPr/>
        </p:nvSpPr>
        <p:spPr>
          <a:xfrm>
            <a:off x="101600" y="6575425"/>
            <a:ext cx="25654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>
                <a:solidFill>
                  <a:prstClr val="black"/>
                </a:solidFill>
              </a:rPr>
              <a:t>Draft: for discussion purposes only</a:t>
            </a:r>
          </a:p>
        </p:txBody>
      </p:sp>
    </p:spTree>
    <p:extLst>
      <p:ext uri="{BB962C8B-B14F-4D97-AF65-F5344CB8AC3E}">
        <p14:creationId xmlns:p14="http://schemas.microsoft.com/office/powerpoint/2010/main" val="4919801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xStyles>
    <p:titleStyle>
      <a:lvl1pPr algn="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99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99"/>
          </a:solidFill>
          <a:latin typeface="Arial" charset="0"/>
          <a:ea typeface="ＭＳ Ｐゴシック" pitchFamily="1" charset="-128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99"/>
          </a:solidFill>
          <a:latin typeface="Arial" charset="0"/>
          <a:ea typeface="ＭＳ Ｐゴシック" pitchFamily="1" charset="-128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99"/>
          </a:solidFill>
          <a:latin typeface="Arial" charset="0"/>
          <a:ea typeface="ＭＳ Ｐゴシック" pitchFamily="1" charset="-128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99"/>
          </a:solidFill>
          <a:latin typeface="Arial" charset="0"/>
          <a:ea typeface="ＭＳ Ｐゴシック" pitchFamily="1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B7893"/>
          </a:solidFill>
          <a:latin typeface="Arial" charset="0"/>
          <a:ea typeface="ＭＳ Ｐゴシック" pitchFamily="1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B7893"/>
          </a:solidFill>
          <a:latin typeface="Arial" charset="0"/>
          <a:ea typeface="ＭＳ Ｐゴシック" pitchFamily="1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B7893"/>
          </a:solidFill>
          <a:latin typeface="Arial" charset="0"/>
          <a:ea typeface="ＭＳ Ｐゴシック" pitchFamily="1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B7893"/>
          </a:solidFill>
          <a:latin typeface="Arial" charset="0"/>
          <a:ea typeface="ＭＳ Ｐゴシック" pitchFamily="1" charset="-128"/>
        </a:defRPr>
      </a:lvl9pPr>
    </p:titleStyle>
    <p:bodyStyle>
      <a:lvl1pPr marL="342900" indent="-342900" algn="l" rtl="0" eaLnBrk="0" fontAlgn="base" hangingPunct="0">
        <a:spcBef>
          <a:spcPct val="25000"/>
        </a:spcBef>
        <a:spcAft>
          <a:spcPct val="20000"/>
        </a:spcAft>
        <a:defRPr b="1">
          <a:solidFill>
            <a:srgbClr val="333333"/>
          </a:solidFill>
          <a:latin typeface="+mn-lt"/>
          <a:ea typeface="+mn-ea"/>
          <a:cs typeface="+mn-cs"/>
        </a:defRPr>
      </a:lvl1pPr>
      <a:lvl2pPr marL="285750" indent="-171450" algn="l" rtl="0" eaLnBrk="0" fontAlgn="base" hangingPunct="0">
        <a:spcBef>
          <a:spcPct val="25000"/>
        </a:spcBef>
        <a:spcAft>
          <a:spcPct val="20000"/>
        </a:spcAft>
        <a:buClr>
          <a:srgbClr val="006699"/>
        </a:buClr>
        <a:buSzPct val="10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2pPr>
      <a:lvl3pPr marL="574675" indent="-174625" algn="l" rtl="0" eaLnBrk="0" fontAlgn="base" hangingPunct="0">
        <a:spcBef>
          <a:spcPct val="25000"/>
        </a:spcBef>
        <a:spcAft>
          <a:spcPct val="20000"/>
        </a:spcAft>
        <a:buClr>
          <a:srgbClr val="006699"/>
        </a:buClr>
        <a:buFont typeface="Symbol" pitchFamily="18" charset="2"/>
        <a:buChar char=""/>
        <a:defRPr sz="1400">
          <a:solidFill>
            <a:srgbClr val="333333"/>
          </a:solidFill>
          <a:latin typeface="+mn-lt"/>
          <a:ea typeface="+mn-ea"/>
        </a:defRPr>
      </a:lvl3pPr>
      <a:lvl4pPr marL="855663" indent="-166688" algn="l" rtl="0" eaLnBrk="0" fontAlgn="base" hangingPunct="0">
        <a:spcBef>
          <a:spcPct val="25000"/>
        </a:spcBef>
        <a:spcAft>
          <a:spcPct val="20000"/>
        </a:spcAft>
        <a:buClr>
          <a:srgbClr val="006699"/>
        </a:buClr>
        <a:buSzPct val="100000"/>
        <a:buFont typeface="Arial" pitchFamily="34" charset="0"/>
        <a:buChar char="•"/>
        <a:defRPr sz="1200">
          <a:solidFill>
            <a:srgbClr val="333333"/>
          </a:solidFill>
          <a:latin typeface="+mn-lt"/>
          <a:ea typeface="+mn-ea"/>
        </a:defRPr>
      </a:lvl4pPr>
      <a:lvl5pPr marL="1143000" indent="-173038" algn="l" rtl="0" eaLnBrk="0" fontAlgn="base" hangingPunct="0">
        <a:spcBef>
          <a:spcPct val="25000"/>
        </a:spcBef>
        <a:spcAft>
          <a:spcPct val="20000"/>
        </a:spcAft>
        <a:buClr>
          <a:srgbClr val="006699"/>
        </a:buClr>
        <a:buFont typeface="Symbol" pitchFamily="18" charset="2"/>
        <a:buChar char=""/>
        <a:defRPr sz="1000">
          <a:solidFill>
            <a:srgbClr val="333333"/>
          </a:solidFill>
          <a:latin typeface="+mn-lt"/>
          <a:ea typeface="+mn-ea"/>
        </a:defRPr>
      </a:lvl5pPr>
      <a:lvl6pPr marL="1600200" indent="-173038" algn="l" rtl="0" eaLnBrk="1" fontAlgn="base" hangingPunct="1">
        <a:spcBef>
          <a:spcPct val="25000"/>
        </a:spcBef>
        <a:spcAft>
          <a:spcPct val="20000"/>
        </a:spcAft>
        <a:buClr>
          <a:srgbClr val="999999"/>
        </a:buClr>
        <a:buFont typeface="Symbol" pitchFamily="18" charset="2"/>
        <a:buChar char=""/>
        <a:defRPr sz="1000">
          <a:solidFill>
            <a:srgbClr val="333333"/>
          </a:solidFill>
          <a:latin typeface="+mn-lt"/>
          <a:ea typeface="+mn-ea"/>
        </a:defRPr>
      </a:lvl6pPr>
      <a:lvl7pPr marL="2057400" indent="-173038" algn="l" rtl="0" eaLnBrk="1" fontAlgn="base" hangingPunct="1">
        <a:spcBef>
          <a:spcPct val="25000"/>
        </a:spcBef>
        <a:spcAft>
          <a:spcPct val="20000"/>
        </a:spcAft>
        <a:buClr>
          <a:srgbClr val="999999"/>
        </a:buClr>
        <a:buFont typeface="Symbol" pitchFamily="18" charset="2"/>
        <a:buChar char=""/>
        <a:defRPr sz="1000">
          <a:solidFill>
            <a:srgbClr val="333333"/>
          </a:solidFill>
          <a:latin typeface="+mn-lt"/>
          <a:ea typeface="+mn-ea"/>
        </a:defRPr>
      </a:lvl7pPr>
      <a:lvl8pPr marL="2514600" indent="-173038" algn="l" rtl="0" eaLnBrk="1" fontAlgn="base" hangingPunct="1">
        <a:spcBef>
          <a:spcPct val="25000"/>
        </a:spcBef>
        <a:spcAft>
          <a:spcPct val="20000"/>
        </a:spcAft>
        <a:buClr>
          <a:srgbClr val="999999"/>
        </a:buClr>
        <a:buFont typeface="Symbol" pitchFamily="18" charset="2"/>
        <a:buChar char=""/>
        <a:defRPr sz="1000">
          <a:solidFill>
            <a:srgbClr val="333333"/>
          </a:solidFill>
          <a:latin typeface="+mn-lt"/>
          <a:ea typeface="+mn-ea"/>
        </a:defRPr>
      </a:lvl8pPr>
      <a:lvl9pPr marL="2971800" indent="-173038" algn="l" rtl="0" eaLnBrk="1" fontAlgn="base" hangingPunct="1">
        <a:spcBef>
          <a:spcPct val="25000"/>
        </a:spcBef>
        <a:spcAft>
          <a:spcPct val="20000"/>
        </a:spcAft>
        <a:buClr>
          <a:srgbClr val="999999"/>
        </a:buClr>
        <a:buFont typeface="Symbol" pitchFamily="18" charset="2"/>
        <a:buChar char=""/>
        <a:defRPr sz="10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1122363" y="525463"/>
            <a:ext cx="723900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black">
          <a:xfrm>
            <a:off x="590550" y="1285875"/>
            <a:ext cx="7937500" cy="908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1"/>
            <a:r>
              <a:rPr lang="en-US"/>
              <a:t>Click to edit Master text styles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  <p:sp>
        <p:nvSpPr>
          <p:cNvPr id="5126" name="Text Box 12"/>
          <p:cNvSpPr txBox="1">
            <a:spLocks noChangeArrowheads="1"/>
          </p:cNvSpPr>
          <p:nvPr/>
        </p:nvSpPr>
        <p:spPr bwMode="black">
          <a:xfrm>
            <a:off x="6781800" y="6473825"/>
            <a:ext cx="1981200" cy="122238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-128"/>
              </a:defRPr>
            </a:lvl1pPr>
            <a:lvl2pPr marL="742950" indent="-28575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-128"/>
              </a:defRPr>
            </a:lvl2pPr>
            <a:lvl3pPr marL="1143000" indent="-22860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-128"/>
              </a:defRPr>
            </a:lvl3pPr>
            <a:lvl4pPr marL="1600200" indent="-22860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-128"/>
              </a:defRPr>
            </a:lvl4pPr>
            <a:lvl5pPr marL="2057400" indent="-22860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-128"/>
              </a:defRPr>
            </a:lvl9pPr>
          </a:lstStyle>
          <a:p>
            <a:pPr algn="r" fontAlgn="base">
              <a:lnSpc>
                <a:spcPct val="90000"/>
              </a:lnSpc>
              <a:spcBef>
                <a:spcPct val="0"/>
              </a:spcBef>
              <a:defRPr/>
            </a:pPr>
            <a:fld id="{E4827536-C6FB-4AB1-A46E-6998E5529011}" type="slidenum">
              <a:rPr lang="en-US" sz="900" b="1" smtClean="0">
                <a:solidFill>
                  <a:srgbClr val="0082AA"/>
                </a:solidFill>
              </a:rPr>
              <a:pPr algn="r" fontAlgn="base">
                <a:lnSpc>
                  <a:spcPct val="90000"/>
                </a:lnSpc>
                <a:spcBef>
                  <a:spcPct val="0"/>
                </a:spcBef>
                <a:defRPr/>
              </a:pPr>
              <a:t>‹#›</a:t>
            </a:fld>
            <a:endParaRPr lang="en-US" sz="900" b="1" dirty="0">
              <a:solidFill>
                <a:srgbClr val="0082A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197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</p:sldLayoutIdLst>
  <p:transition>
    <p:wipe dir="r"/>
  </p:transition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800" b="1">
          <a:solidFill>
            <a:srgbClr val="FFA100"/>
          </a:solidFill>
          <a:latin typeface="+mj-lt"/>
          <a:ea typeface="+mj-ea"/>
          <a:cs typeface="ヒラギノ角ゴ Pro W3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800" b="1">
          <a:solidFill>
            <a:srgbClr val="FFA100"/>
          </a:solidFill>
          <a:latin typeface="Arial" charset="0"/>
          <a:ea typeface="ヒラギノ角ゴ Pro W3" charset="-128"/>
          <a:cs typeface="ヒラギノ角ゴ Pro W3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800" b="1">
          <a:solidFill>
            <a:srgbClr val="FFA100"/>
          </a:solidFill>
          <a:latin typeface="Arial" charset="0"/>
          <a:ea typeface="ヒラギノ角ゴ Pro W3" charset="-128"/>
          <a:cs typeface="ヒラギノ角ゴ Pro W3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800" b="1">
          <a:solidFill>
            <a:srgbClr val="FFA100"/>
          </a:solidFill>
          <a:latin typeface="Arial" charset="0"/>
          <a:ea typeface="ヒラギノ角ゴ Pro W3" charset="-128"/>
          <a:cs typeface="ヒラギノ角ゴ Pro W3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800" b="1">
          <a:solidFill>
            <a:srgbClr val="FFA100"/>
          </a:solidFill>
          <a:latin typeface="Arial" charset="0"/>
          <a:ea typeface="ヒラギノ角ゴ Pro W3" charset="-128"/>
          <a:cs typeface="ヒラギノ角ゴ Pro W3"/>
        </a:defRPr>
      </a:lvl5pPr>
      <a:lvl6pPr marL="4572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800" b="1">
          <a:solidFill>
            <a:srgbClr val="FFA100"/>
          </a:solidFill>
          <a:latin typeface="Arial" charset="0"/>
          <a:ea typeface="ヒラギノ角ゴ Pro W3" charset="-128"/>
        </a:defRPr>
      </a:lvl6pPr>
      <a:lvl7pPr marL="9144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800" b="1">
          <a:solidFill>
            <a:srgbClr val="FFA100"/>
          </a:solidFill>
          <a:latin typeface="Arial" charset="0"/>
          <a:ea typeface="ヒラギノ角ゴ Pro W3" charset="-128"/>
        </a:defRPr>
      </a:lvl7pPr>
      <a:lvl8pPr marL="13716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800" b="1">
          <a:solidFill>
            <a:srgbClr val="FFA100"/>
          </a:solidFill>
          <a:latin typeface="Arial" charset="0"/>
          <a:ea typeface="ヒラギノ角ゴ Pro W3" charset="-128"/>
        </a:defRPr>
      </a:lvl8pPr>
      <a:lvl9pPr marL="18288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800" b="1">
          <a:solidFill>
            <a:srgbClr val="FFA100"/>
          </a:solidFill>
          <a:latin typeface="Arial" charset="0"/>
          <a:ea typeface="ヒラギノ角ゴ Pro W3" charset="-128"/>
        </a:defRPr>
      </a:lvl9pPr>
    </p:titleStyle>
    <p:bodyStyle>
      <a:lvl1pPr marL="342900" indent="-3429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SzPct val="25000"/>
        <a:buFont typeface="Arial" charset="0"/>
        <a:defRPr sz="2200" b="1">
          <a:solidFill>
            <a:srgbClr val="0082AA"/>
          </a:solidFill>
          <a:latin typeface="+mn-lt"/>
          <a:ea typeface="+mn-ea"/>
          <a:cs typeface="ヒラギノ角ゴ Pro W3"/>
        </a:defRPr>
      </a:lvl1pPr>
      <a:lvl2pPr marL="177800" indent="-176213" algn="l" rtl="0" eaLnBrk="0" fontAlgn="base" hangingPunct="0">
        <a:lnSpc>
          <a:spcPct val="90000"/>
        </a:lnSpc>
        <a:spcBef>
          <a:spcPct val="25000"/>
        </a:spcBef>
        <a:spcAft>
          <a:spcPct val="15000"/>
        </a:spcAft>
        <a:buChar char="•"/>
        <a:defRPr>
          <a:solidFill>
            <a:srgbClr val="0082AA"/>
          </a:solidFill>
          <a:latin typeface="+mn-lt"/>
          <a:ea typeface="+mn-ea"/>
          <a:cs typeface="ヒラギノ角ゴ Pro W3"/>
        </a:defRPr>
      </a:lvl2pPr>
      <a:lvl3pPr marL="514350" indent="-222250" algn="l" rtl="0" eaLnBrk="0" fontAlgn="base" hangingPunct="0">
        <a:lnSpc>
          <a:spcPct val="90000"/>
        </a:lnSpc>
        <a:spcBef>
          <a:spcPct val="15000"/>
        </a:spcBef>
        <a:spcAft>
          <a:spcPct val="15000"/>
        </a:spcAft>
        <a:buFont typeface="Arial" charset="0"/>
        <a:buChar char="–"/>
        <a:defRPr>
          <a:solidFill>
            <a:srgbClr val="0082AA"/>
          </a:solidFill>
          <a:latin typeface="+mn-lt"/>
          <a:ea typeface="+mn-ea"/>
          <a:cs typeface="ヒラギノ角ゴ Pro W3"/>
        </a:defRPr>
      </a:lvl3pPr>
      <a:lvl4pPr marL="804863" indent="-176213" algn="l" rtl="0" eaLnBrk="0" fontAlgn="base" hangingPunct="0">
        <a:lnSpc>
          <a:spcPct val="90000"/>
        </a:lnSpc>
        <a:spcBef>
          <a:spcPct val="15000"/>
        </a:spcBef>
        <a:spcAft>
          <a:spcPct val="15000"/>
        </a:spcAft>
        <a:buChar char="•"/>
        <a:defRPr>
          <a:solidFill>
            <a:srgbClr val="0082AA"/>
          </a:solidFill>
          <a:latin typeface="+mn-lt"/>
          <a:ea typeface="+mn-ea"/>
          <a:cs typeface="ヒラギノ角ゴ Pro W3"/>
        </a:defRPr>
      </a:lvl4pPr>
      <a:lvl5pPr marL="1433513" indent="-17621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har char="•"/>
        <a:defRPr sz="2200" b="1">
          <a:solidFill>
            <a:srgbClr val="0082AA"/>
          </a:solidFill>
          <a:latin typeface="+mn-lt"/>
          <a:ea typeface="+mn-ea"/>
          <a:cs typeface="ヒラギノ角ゴ Pro W3"/>
        </a:defRPr>
      </a:lvl5pPr>
      <a:lvl6pPr marL="1890713" indent="-17621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har char="•"/>
        <a:defRPr sz="2200" b="1">
          <a:solidFill>
            <a:srgbClr val="0082AA"/>
          </a:solidFill>
          <a:latin typeface="+mn-lt"/>
          <a:ea typeface="+mn-ea"/>
        </a:defRPr>
      </a:lvl6pPr>
      <a:lvl7pPr marL="2347913" indent="-17621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har char="•"/>
        <a:defRPr sz="2200" b="1">
          <a:solidFill>
            <a:srgbClr val="0082AA"/>
          </a:solidFill>
          <a:latin typeface="+mn-lt"/>
          <a:ea typeface="+mn-ea"/>
        </a:defRPr>
      </a:lvl7pPr>
      <a:lvl8pPr marL="2805113" indent="-17621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har char="•"/>
        <a:defRPr sz="2200" b="1">
          <a:solidFill>
            <a:srgbClr val="0082AA"/>
          </a:solidFill>
          <a:latin typeface="+mn-lt"/>
          <a:ea typeface="+mn-ea"/>
        </a:defRPr>
      </a:lvl8pPr>
      <a:lvl9pPr marL="3262313" indent="-17621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har char="•"/>
        <a:defRPr sz="2200" b="1">
          <a:solidFill>
            <a:srgbClr val="0082AA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2235446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541463" y="-4763"/>
            <a:ext cx="7450137" cy="79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45711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50950"/>
            <a:ext cx="8229600" cy="4679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028" name="Group 8"/>
          <p:cNvGrpSpPr>
            <a:grpSpLocks/>
          </p:cNvGrpSpPr>
          <p:nvPr/>
        </p:nvGrpSpPr>
        <p:grpSpPr bwMode="auto">
          <a:xfrm>
            <a:off x="101600" y="104775"/>
            <a:ext cx="668338" cy="685800"/>
            <a:chOff x="18142" y="955"/>
            <a:chExt cx="2084" cy="2140"/>
          </a:xfrm>
        </p:grpSpPr>
        <p:sp>
          <p:nvSpPr>
            <p:cNvPr id="1032" name="Rectangle 9"/>
            <p:cNvSpPr>
              <a:spLocks noChangeArrowheads="1"/>
            </p:cNvSpPr>
            <p:nvPr/>
          </p:nvSpPr>
          <p:spPr bwMode="auto">
            <a:xfrm>
              <a:off x="18142" y="955"/>
              <a:ext cx="1871" cy="214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en-US" sz="1600" dirty="0">
                <a:solidFill>
                  <a:srgbClr val="333333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033" name="Freeform 10"/>
            <p:cNvSpPr>
              <a:spLocks/>
            </p:cNvSpPr>
            <p:nvPr/>
          </p:nvSpPr>
          <p:spPr bwMode="auto">
            <a:xfrm>
              <a:off x="19102" y="2392"/>
              <a:ext cx="396" cy="619"/>
            </a:xfrm>
            <a:custGeom>
              <a:avLst/>
              <a:gdLst>
                <a:gd name="T0" fmla="*/ 1 w 790"/>
                <a:gd name="T1" fmla="*/ 1 h 1238"/>
                <a:gd name="T2" fmla="*/ 0 w 790"/>
                <a:gd name="T3" fmla="*/ 1 h 1238"/>
                <a:gd name="T4" fmla="*/ 1 w 790"/>
                <a:gd name="T5" fmla="*/ 1 h 1238"/>
                <a:gd name="T6" fmla="*/ 1 w 790"/>
                <a:gd name="T7" fmla="*/ 1 h 1238"/>
                <a:gd name="T8" fmla="*/ 1 w 790"/>
                <a:gd name="T9" fmla="*/ 1 h 1238"/>
                <a:gd name="T10" fmla="*/ 1 w 790"/>
                <a:gd name="T11" fmla="*/ 1 h 1238"/>
                <a:gd name="T12" fmla="*/ 1 w 790"/>
                <a:gd name="T13" fmla="*/ 1 h 1238"/>
                <a:gd name="T14" fmla="*/ 1 w 790"/>
                <a:gd name="T15" fmla="*/ 1 h 1238"/>
                <a:gd name="T16" fmla="*/ 1 w 790"/>
                <a:gd name="T17" fmla="*/ 1 h 1238"/>
                <a:gd name="T18" fmla="*/ 1 w 790"/>
                <a:gd name="T19" fmla="*/ 1 h 1238"/>
                <a:gd name="T20" fmla="*/ 1 w 790"/>
                <a:gd name="T21" fmla="*/ 1 h 1238"/>
                <a:gd name="T22" fmla="*/ 1 w 790"/>
                <a:gd name="T23" fmla="*/ 1 h 1238"/>
                <a:gd name="T24" fmla="*/ 1 w 790"/>
                <a:gd name="T25" fmla="*/ 1 h 1238"/>
                <a:gd name="T26" fmla="*/ 1 w 790"/>
                <a:gd name="T27" fmla="*/ 1 h 1238"/>
                <a:gd name="T28" fmla="*/ 1 w 790"/>
                <a:gd name="T29" fmla="*/ 0 h 1238"/>
                <a:gd name="T30" fmla="*/ 1 w 790"/>
                <a:gd name="T31" fmla="*/ 1 h 1238"/>
                <a:gd name="T32" fmla="*/ 1 w 790"/>
                <a:gd name="T33" fmla="*/ 1 h 1238"/>
                <a:gd name="T34" fmla="*/ 1 w 790"/>
                <a:gd name="T35" fmla="*/ 1 h 1238"/>
                <a:gd name="T36" fmla="*/ 1 w 790"/>
                <a:gd name="T37" fmla="*/ 1 h 1238"/>
                <a:gd name="T38" fmla="*/ 1 w 790"/>
                <a:gd name="T39" fmla="*/ 1 h 1238"/>
                <a:gd name="T40" fmla="*/ 1 w 790"/>
                <a:gd name="T41" fmla="*/ 1 h 1238"/>
                <a:gd name="T42" fmla="*/ 1 w 790"/>
                <a:gd name="T43" fmla="*/ 1 h 1238"/>
                <a:gd name="T44" fmla="*/ 1 w 790"/>
                <a:gd name="T45" fmla="*/ 1 h 1238"/>
                <a:gd name="T46" fmla="*/ 1 w 790"/>
                <a:gd name="T47" fmla="*/ 1 h 1238"/>
                <a:gd name="T48" fmla="*/ 1 w 790"/>
                <a:gd name="T49" fmla="*/ 1 h 1238"/>
                <a:gd name="T50" fmla="*/ 1 w 790"/>
                <a:gd name="T51" fmla="*/ 1 h 1238"/>
                <a:gd name="T52" fmla="*/ 1 w 790"/>
                <a:gd name="T53" fmla="*/ 1 h 1238"/>
                <a:gd name="T54" fmla="*/ 1 w 790"/>
                <a:gd name="T55" fmla="*/ 1 h 1238"/>
                <a:gd name="T56" fmla="*/ 1 w 790"/>
                <a:gd name="T57" fmla="*/ 1 h 1238"/>
                <a:gd name="T58" fmla="*/ 1 w 790"/>
                <a:gd name="T59" fmla="*/ 1 h 1238"/>
                <a:gd name="T60" fmla="*/ 1 w 790"/>
                <a:gd name="T61" fmla="*/ 1 h 1238"/>
                <a:gd name="T62" fmla="*/ 1 w 790"/>
                <a:gd name="T63" fmla="*/ 1 h 1238"/>
                <a:gd name="T64" fmla="*/ 1 w 790"/>
                <a:gd name="T65" fmla="*/ 1 h 1238"/>
                <a:gd name="T66" fmla="*/ 1 w 790"/>
                <a:gd name="T67" fmla="*/ 1 h 1238"/>
                <a:gd name="T68" fmla="*/ 1 w 790"/>
                <a:gd name="T69" fmla="*/ 1 h 1238"/>
                <a:gd name="T70" fmla="*/ 1 w 790"/>
                <a:gd name="T71" fmla="*/ 1 h 1238"/>
                <a:gd name="T72" fmla="*/ 1 w 790"/>
                <a:gd name="T73" fmla="*/ 1 h 1238"/>
                <a:gd name="T74" fmla="*/ 1 w 790"/>
                <a:gd name="T75" fmla="*/ 1 h 1238"/>
                <a:gd name="T76" fmla="*/ 1 w 790"/>
                <a:gd name="T77" fmla="*/ 1 h 1238"/>
                <a:gd name="T78" fmla="*/ 1 w 790"/>
                <a:gd name="T79" fmla="*/ 1 h 1238"/>
                <a:gd name="T80" fmla="*/ 1 w 790"/>
                <a:gd name="T81" fmla="*/ 1 h 1238"/>
                <a:gd name="T82" fmla="*/ 1 w 790"/>
                <a:gd name="T83" fmla="*/ 1 h 1238"/>
                <a:gd name="T84" fmla="*/ 1 w 790"/>
                <a:gd name="T85" fmla="*/ 1 h 1238"/>
                <a:gd name="T86" fmla="*/ 1 w 790"/>
                <a:gd name="T87" fmla="*/ 1 h 123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790" h="1238">
                  <a:moveTo>
                    <a:pt x="78" y="1113"/>
                  </a:moveTo>
                  <a:lnTo>
                    <a:pt x="31" y="1021"/>
                  </a:lnTo>
                  <a:lnTo>
                    <a:pt x="7" y="937"/>
                  </a:lnTo>
                  <a:lnTo>
                    <a:pt x="0" y="861"/>
                  </a:lnTo>
                  <a:lnTo>
                    <a:pt x="5" y="794"/>
                  </a:lnTo>
                  <a:lnTo>
                    <a:pt x="23" y="737"/>
                  </a:lnTo>
                  <a:lnTo>
                    <a:pt x="44" y="690"/>
                  </a:lnTo>
                  <a:lnTo>
                    <a:pt x="68" y="652"/>
                  </a:lnTo>
                  <a:lnTo>
                    <a:pt x="91" y="624"/>
                  </a:lnTo>
                  <a:lnTo>
                    <a:pt x="106" y="607"/>
                  </a:lnTo>
                  <a:lnTo>
                    <a:pt x="113" y="601"/>
                  </a:lnTo>
                  <a:lnTo>
                    <a:pt x="134" y="581"/>
                  </a:lnTo>
                  <a:lnTo>
                    <a:pt x="174" y="540"/>
                  </a:lnTo>
                  <a:lnTo>
                    <a:pt x="195" y="520"/>
                  </a:lnTo>
                  <a:lnTo>
                    <a:pt x="143" y="426"/>
                  </a:lnTo>
                  <a:lnTo>
                    <a:pt x="115" y="342"/>
                  </a:lnTo>
                  <a:lnTo>
                    <a:pt x="106" y="271"/>
                  </a:lnTo>
                  <a:lnTo>
                    <a:pt x="111" y="208"/>
                  </a:lnTo>
                  <a:lnTo>
                    <a:pt x="129" y="153"/>
                  </a:lnTo>
                  <a:lnTo>
                    <a:pt x="195" y="64"/>
                  </a:lnTo>
                  <a:lnTo>
                    <a:pt x="275" y="19"/>
                  </a:lnTo>
                  <a:lnTo>
                    <a:pt x="311" y="7"/>
                  </a:lnTo>
                  <a:lnTo>
                    <a:pt x="346" y="1"/>
                  </a:lnTo>
                  <a:lnTo>
                    <a:pt x="428" y="0"/>
                  </a:lnTo>
                  <a:lnTo>
                    <a:pt x="529" y="17"/>
                  </a:lnTo>
                  <a:lnTo>
                    <a:pt x="623" y="73"/>
                  </a:lnTo>
                  <a:lnTo>
                    <a:pt x="640" y="88"/>
                  </a:lnTo>
                  <a:lnTo>
                    <a:pt x="673" y="149"/>
                  </a:lnTo>
                  <a:lnTo>
                    <a:pt x="694" y="276"/>
                  </a:lnTo>
                  <a:lnTo>
                    <a:pt x="694" y="297"/>
                  </a:lnTo>
                  <a:lnTo>
                    <a:pt x="694" y="332"/>
                  </a:lnTo>
                  <a:lnTo>
                    <a:pt x="694" y="353"/>
                  </a:lnTo>
                  <a:lnTo>
                    <a:pt x="463" y="353"/>
                  </a:lnTo>
                  <a:lnTo>
                    <a:pt x="463" y="328"/>
                  </a:lnTo>
                  <a:lnTo>
                    <a:pt x="463" y="283"/>
                  </a:lnTo>
                  <a:lnTo>
                    <a:pt x="463" y="260"/>
                  </a:lnTo>
                  <a:lnTo>
                    <a:pt x="444" y="217"/>
                  </a:lnTo>
                  <a:lnTo>
                    <a:pt x="414" y="201"/>
                  </a:lnTo>
                  <a:lnTo>
                    <a:pt x="398" y="198"/>
                  </a:lnTo>
                  <a:lnTo>
                    <a:pt x="355" y="205"/>
                  </a:lnTo>
                  <a:lnTo>
                    <a:pt x="331" y="234"/>
                  </a:lnTo>
                  <a:lnTo>
                    <a:pt x="324" y="274"/>
                  </a:lnTo>
                  <a:lnTo>
                    <a:pt x="322" y="283"/>
                  </a:lnTo>
                  <a:lnTo>
                    <a:pt x="327" y="314"/>
                  </a:lnTo>
                  <a:lnTo>
                    <a:pt x="358" y="374"/>
                  </a:lnTo>
                  <a:lnTo>
                    <a:pt x="400" y="438"/>
                  </a:lnTo>
                  <a:lnTo>
                    <a:pt x="458" y="521"/>
                  </a:lnTo>
                  <a:lnTo>
                    <a:pt x="518" y="607"/>
                  </a:lnTo>
                  <a:lnTo>
                    <a:pt x="565" y="671"/>
                  </a:lnTo>
                  <a:lnTo>
                    <a:pt x="584" y="697"/>
                  </a:lnTo>
                  <a:lnTo>
                    <a:pt x="584" y="534"/>
                  </a:lnTo>
                  <a:lnTo>
                    <a:pt x="786" y="534"/>
                  </a:lnTo>
                  <a:lnTo>
                    <a:pt x="786" y="554"/>
                  </a:lnTo>
                  <a:lnTo>
                    <a:pt x="786" y="608"/>
                  </a:lnTo>
                  <a:lnTo>
                    <a:pt x="786" y="690"/>
                  </a:lnTo>
                  <a:lnTo>
                    <a:pt x="786" y="786"/>
                  </a:lnTo>
                  <a:lnTo>
                    <a:pt x="786" y="890"/>
                  </a:lnTo>
                  <a:lnTo>
                    <a:pt x="786" y="991"/>
                  </a:lnTo>
                  <a:lnTo>
                    <a:pt x="786" y="1080"/>
                  </a:lnTo>
                  <a:lnTo>
                    <a:pt x="788" y="1148"/>
                  </a:lnTo>
                  <a:lnTo>
                    <a:pt x="788" y="1184"/>
                  </a:lnTo>
                  <a:lnTo>
                    <a:pt x="790" y="1201"/>
                  </a:lnTo>
                  <a:lnTo>
                    <a:pt x="776" y="1229"/>
                  </a:lnTo>
                  <a:lnTo>
                    <a:pt x="722" y="1238"/>
                  </a:lnTo>
                  <a:lnTo>
                    <a:pt x="666" y="1238"/>
                  </a:lnTo>
                  <a:lnTo>
                    <a:pt x="544" y="1238"/>
                  </a:lnTo>
                  <a:lnTo>
                    <a:pt x="423" y="1238"/>
                  </a:lnTo>
                  <a:lnTo>
                    <a:pt x="369" y="1238"/>
                  </a:lnTo>
                  <a:lnTo>
                    <a:pt x="78" y="1113"/>
                  </a:lnTo>
                  <a:close/>
                </a:path>
              </a:pathLst>
            </a:custGeom>
            <a:solidFill>
              <a:srgbClr val="FFA9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34" name="Freeform 11"/>
            <p:cNvSpPr>
              <a:spLocks/>
            </p:cNvSpPr>
            <p:nvPr/>
          </p:nvSpPr>
          <p:spPr bwMode="auto">
            <a:xfrm>
              <a:off x="19221" y="2738"/>
              <a:ext cx="168" cy="173"/>
            </a:xfrm>
            <a:custGeom>
              <a:avLst/>
              <a:gdLst>
                <a:gd name="T0" fmla="*/ 1 w 336"/>
                <a:gd name="T1" fmla="*/ 1 h 343"/>
                <a:gd name="T2" fmla="*/ 1 w 336"/>
                <a:gd name="T3" fmla="*/ 1 h 343"/>
                <a:gd name="T4" fmla="*/ 1 w 336"/>
                <a:gd name="T5" fmla="*/ 1 h 343"/>
                <a:gd name="T6" fmla="*/ 1 w 336"/>
                <a:gd name="T7" fmla="*/ 1 h 343"/>
                <a:gd name="T8" fmla="*/ 1 w 336"/>
                <a:gd name="T9" fmla="*/ 1 h 343"/>
                <a:gd name="T10" fmla="*/ 1 w 336"/>
                <a:gd name="T11" fmla="*/ 1 h 343"/>
                <a:gd name="T12" fmla="*/ 1 w 336"/>
                <a:gd name="T13" fmla="*/ 1 h 343"/>
                <a:gd name="T14" fmla="*/ 1 w 336"/>
                <a:gd name="T15" fmla="*/ 0 h 343"/>
                <a:gd name="T16" fmla="*/ 1 w 336"/>
                <a:gd name="T17" fmla="*/ 0 h 343"/>
                <a:gd name="T18" fmla="*/ 1 w 336"/>
                <a:gd name="T19" fmla="*/ 1 h 343"/>
                <a:gd name="T20" fmla="*/ 1 w 336"/>
                <a:gd name="T21" fmla="*/ 1 h 343"/>
                <a:gd name="T22" fmla="*/ 0 w 336"/>
                <a:gd name="T23" fmla="*/ 1 h 343"/>
                <a:gd name="T24" fmla="*/ 1 w 336"/>
                <a:gd name="T25" fmla="*/ 1 h 343"/>
                <a:gd name="T26" fmla="*/ 1 w 336"/>
                <a:gd name="T27" fmla="*/ 1 h 343"/>
                <a:gd name="T28" fmla="*/ 1 w 336"/>
                <a:gd name="T29" fmla="*/ 1 h 343"/>
                <a:gd name="T30" fmla="*/ 1 w 336"/>
                <a:gd name="T31" fmla="*/ 1 h 343"/>
                <a:gd name="T32" fmla="*/ 1 w 336"/>
                <a:gd name="T33" fmla="*/ 1 h 343"/>
                <a:gd name="T34" fmla="*/ 1 w 336"/>
                <a:gd name="T35" fmla="*/ 1 h 343"/>
                <a:gd name="T36" fmla="*/ 1 w 336"/>
                <a:gd name="T37" fmla="*/ 1 h 343"/>
                <a:gd name="T38" fmla="*/ 1 w 336"/>
                <a:gd name="T39" fmla="*/ 1 h 343"/>
                <a:gd name="T40" fmla="*/ 1 w 336"/>
                <a:gd name="T41" fmla="*/ 1 h 343"/>
                <a:gd name="T42" fmla="*/ 1 w 336"/>
                <a:gd name="T43" fmla="*/ 1 h 34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336" h="343">
                  <a:moveTo>
                    <a:pt x="333" y="343"/>
                  </a:moveTo>
                  <a:lnTo>
                    <a:pt x="336" y="325"/>
                  </a:lnTo>
                  <a:lnTo>
                    <a:pt x="308" y="292"/>
                  </a:lnTo>
                  <a:lnTo>
                    <a:pt x="239" y="211"/>
                  </a:lnTo>
                  <a:lnTo>
                    <a:pt x="157" y="115"/>
                  </a:lnTo>
                  <a:lnTo>
                    <a:pt x="89" y="35"/>
                  </a:lnTo>
                  <a:lnTo>
                    <a:pt x="60" y="0"/>
                  </a:lnTo>
                  <a:lnTo>
                    <a:pt x="30" y="37"/>
                  </a:lnTo>
                  <a:lnTo>
                    <a:pt x="4" y="104"/>
                  </a:lnTo>
                  <a:lnTo>
                    <a:pt x="0" y="191"/>
                  </a:lnTo>
                  <a:lnTo>
                    <a:pt x="39" y="285"/>
                  </a:lnTo>
                  <a:lnTo>
                    <a:pt x="60" y="303"/>
                  </a:lnTo>
                  <a:lnTo>
                    <a:pt x="119" y="332"/>
                  </a:lnTo>
                  <a:lnTo>
                    <a:pt x="211" y="343"/>
                  </a:lnTo>
                  <a:lnTo>
                    <a:pt x="242" y="343"/>
                  </a:lnTo>
                  <a:lnTo>
                    <a:pt x="301" y="343"/>
                  </a:lnTo>
                  <a:lnTo>
                    <a:pt x="333" y="34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35" name="Freeform 12"/>
            <p:cNvSpPr>
              <a:spLocks/>
            </p:cNvSpPr>
            <p:nvPr/>
          </p:nvSpPr>
          <p:spPr bwMode="auto">
            <a:xfrm>
              <a:off x="19538" y="1039"/>
              <a:ext cx="391" cy="1977"/>
            </a:xfrm>
            <a:custGeom>
              <a:avLst/>
              <a:gdLst>
                <a:gd name="T0" fmla="*/ 0 w 785"/>
                <a:gd name="T1" fmla="*/ 0 h 3959"/>
                <a:gd name="T2" fmla="*/ 0 w 785"/>
                <a:gd name="T3" fmla="*/ 0 h 3959"/>
                <a:gd name="T4" fmla="*/ 0 w 785"/>
                <a:gd name="T5" fmla="*/ 0 h 3959"/>
                <a:gd name="T6" fmla="*/ 0 w 785"/>
                <a:gd name="T7" fmla="*/ 0 h 3959"/>
                <a:gd name="T8" fmla="*/ 0 w 785"/>
                <a:gd name="T9" fmla="*/ 0 h 3959"/>
                <a:gd name="T10" fmla="*/ 0 w 785"/>
                <a:gd name="T11" fmla="*/ 0 h 3959"/>
                <a:gd name="T12" fmla="*/ 0 w 785"/>
                <a:gd name="T13" fmla="*/ 0 h 3959"/>
                <a:gd name="T14" fmla="*/ 0 w 785"/>
                <a:gd name="T15" fmla="*/ 0 h 3959"/>
                <a:gd name="T16" fmla="*/ 0 w 785"/>
                <a:gd name="T17" fmla="*/ 0 h 3959"/>
                <a:gd name="T18" fmla="*/ 0 w 785"/>
                <a:gd name="T19" fmla="*/ 0 h 3959"/>
                <a:gd name="T20" fmla="*/ 0 w 785"/>
                <a:gd name="T21" fmla="*/ 0 h 3959"/>
                <a:gd name="T22" fmla="*/ 0 w 785"/>
                <a:gd name="T23" fmla="*/ 0 h 3959"/>
                <a:gd name="T24" fmla="*/ 0 w 785"/>
                <a:gd name="T25" fmla="*/ 0 h 3959"/>
                <a:gd name="T26" fmla="*/ 0 w 785"/>
                <a:gd name="T27" fmla="*/ 0 h 3959"/>
                <a:gd name="T28" fmla="*/ 0 w 785"/>
                <a:gd name="T29" fmla="*/ 0 h 3959"/>
                <a:gd name="T30" fmla="*/ 0 w 785"/>
                <a:gd name="T31" fmla="*/ 0 h 3959"/>
                <a:gd name="T32" fmla="*/ 0 w 785"/>
                <a:gd name="T33" fmla="*/ 0 h 39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785" h="3959">
                  <a:moveTo>
                    <a:pt x="0" y="0"/>
                  </a:moveTo>
                  <a:lnTo>
                    <a:pt x="0" y="3959"/>
                  </a:lnTo>
                  <a:lnTo>
                    <a:pt x="49" y="3959"/>
                  </a:lnTo>
                  <a:lnTo>
                    <a:pt x="49" y="2454"/>
                  </a:lnTo>
                  <a:lnTo>
                    <a:pt x="696" y="2454"/>
                  </a:lnTo>
                  <a:lnTo>
                    <a:pt x="696" y="2720"/>
                  </a:lnTo>
                  <a:lnTo>
                    <a:pt x="369" y="2720"/>
                  </a:lnTo>
                  <a:lnTo>
                    <a:pt x="369" y="3056"/>
                  </a:lnTo>
                  <a:lnTo>
                    <a:pt x="696" y="3056"/>
                  </a:lnTo>
                  <a:lnTo>
                    <a:pt x="696" y="3322"/>
                  </a:lnTo>
                  <a:lnTo>
                    <a:pt x="369" y="3322"/>
                  </a:lnTo>
                  <a:lnTo>
                    <a:pt x="369" y="3684"/>
                  </a:lnTo>
                  <a:lnTo>
                    <a:pt x="696" y="3684"/>
                  </a:lnTo>
                  <a:lnTo>
                    <a:pt x="696" y="3945"/>
                  </a:lnTo>
                  <a:lnTo>
                    <a:pt x="785" y="3945"/>
                  </a:lnTo>
                  <a:lnTo>
                    <a:pt x="78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9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36" name="Freeform 13"/>
            <p:cNvSpPr>
              <a:spLocks/>
            </p:cNvSpPr>
            <p:nvPr/>
          </p:nvSpPr>
          <p:spPr bwMode="auto">
            <a:xfrm>
              <a:off x="18424" y="2397"/>
              <a:ext cx="74" cy="218"/>
            </a:xfrm>
            <a:custGeom>
              <a:avLst/>
              <a:gdLst>
                <a:gd name="T0" fmla="*/ 0 w 152"/>
                <a:gd name="T1" fmla="*/ 0 h 435"/>
                <a:gd name="T2" fmla="*/ 0 w 152"/>
                <a:gd name="T3" fmla="*/ 1 h 435"/>
                <a:gd name="T4" fmla="*/ 0 w 152"/>
                <a:gd name="T5" fmla="*/ 1 h 435"/>
                <a:gd name="T6" fmla="*/ 0 w 152"/>
                <a:gd name="T7" fmla="*/ 1 h 435"/>
                <a:gd name="T8" fmla="*/ 0 w 152"/>
                <a:gd name="T9" fmla="*/ 1 h 435"/>
                <a:gd name="T10" fmla="*/ 0 w 152"/>
                <a:gd name="T11" fmla="*/ 1 h 435"/>
                <a:gd name="T12" fmla="*/ 0 w 152"/>
                <a:gd name="T13" fmla="*/ 1 h 435"/>
                <a:gd name="T14" fmla="*/ 0 w 152"/>
                <a:gd name="T15" fmla="*/ 1 h 435"/>
                <a:gd name="T16" fmla="*/ 0 w 152"/>
                <a:gd name="T17" fmla="*/ 1 h 435"/>
                <a:gd name="T18" fmla="*/ 0 w 152"/>
                <a:gd name="T19" fmla="*/ 1 h 435"/>
                <a:gd name="T20" fmla="*/ 0 w 152"/>
                <a:gd name="T21" fmla="*/ 1 h 435"/>
                <a:gd name="T22" fmla="*/ 0 w 152"/>
                <a:gd name="T23" fmla="*/ 1 h 435"/>
                <a:gd name="T24" fmla="*/ 0 w 152"/>
                <a:gd name="T25" fmla="*/ 1 h 435"/>
                <a:gd name="T26" fmla="*/ 0 w 152"/>
                <a:gd name="T27" fmla="*/ 1 h 435"/>
                <a:gd name="T28" fmla="*/ 0 w 152"/>
                <a:gd name="T29" fmla="*/ 1 h 435"/>
                <a:gd name="T30" fmla="*/ 0 w 152"/>
                <a:gd name="T31" fmla="*/ 1 h 435"/>
                <a:gd name="T32" fmla="*/ 0 w 152"/>
                <a:gd name="T33" fmla="*/ 1 h 435"/>
                <a:gd name="T34" fmla="*/ 0 w 152"/>
                <a:gd name="T35" fmla="*/ 1 h 435"/>
                <a:gd name="T36" fmla="*/ 0 w 152"/>
                <a:gd name="T37" fmla="*/ 0 h 435"/>
                <a:gd name="T38" fmla="*/ 0 w 152"/>
                <a:gd name="T39" fmla="*/ 0 h 43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2" h="435">
                  <a:moveTo>
                    <a:pt x="0" y="0"/>
                  </a:moveTo>
                  <a:lnTo>
                    <a:pt x="0" y="34"/>
                  </a:lnTo>
                  <a:lnTo>
                    <a:pt x="0" y="114"/>
                  </a:lnTo>
                  <a:lnTo>
                    <a:pt x="0" y="218"/>
                  </a:lnTo>
                  <a:lnTo>
                    <a:pt x="0" y="322"/>
                  </a:lnTo>
                  <a:lnTo>
                    <a:pt x="0" y="402"/>
                  </a:lnTo>
                  <a:lnTo>
                    <a:pt x="0" y="435"/>
                  </a:lnTo>
                  <a:lnTo>
                    <a:pt x="75" y="423"/>
                  </a:lnTo>
                  <a:lnTo>
                    <a:pt x="124" y="371"/>
                  </a:lnTo>
                  <a:lnTo>
                    <a:pt x="146" y="298"/>
                  </a:lnTo>
                  <a:lnTo>
                    <a:pt x="152" y="221"/>
                  </a:lnTo>
                  <a:lnTo>
                    <a:pt x="150" y="157"/>
                  </a:lnTo>
                  <a:lnTo>
                    <a:pt x="143" y="110"/>
                  </a:lnTo>
                  <a:lnTo>
                    <a:pt x="126" y="63"/>
                  </a:lnTo>
                  <a:lnTo>
                    <a:pt x="80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9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37" name="Freeform 14"/>
            <p:cNvSpPr>
              <a:spLocks/>
            </p:cNvSpPr>
            <p:nvPr/>
          </p:nvSpPr>
          <p:spPr bwMode="auto">
            <a:xfrm>
              <a:off x="18221" y="1039"/>
              <a:ext cx="1307" cy="1977"/>
            </a:xfrm>
            <a:custGeom>
              <a:avLst/>
              <a:gdLst>
                <a:gd name="T0" fmla="*/ 0 w 2616"/>
                <a:gd name="T1" fmla="*/ 0 h 3962"/>
                <a:gd name="T2" fmla="*/ 0 w 2616"/>
                <a:gd name="T3" fmla="*/ 0 h 3962"/>
                <a:gd name="T4" fmla="*/ 0 w 2616"/>
                <a:gd name="T5" fmla="*/ 0 h 3962"/>
                <a:gd name="T6" fmla="*/ 0 w 2616"/>
                <a:gd name="T7" fmla="*/ 0 h 3962"/>
                <a:gd name="T8" fmla="*/ 0 w 2616"/>
                <a:gd name="T9" fmla="*/ 0 h 3962"/>
                <a:gd name="T10" fmla="*/ 0 w 2616"/>
                <a:gd name="T11" fmla="*/ 0 h 3962"/>
                <a:gd name="T12" fmla="*/ 0 w 2616"/>
                <a:gd name="T13" fmla="*/ 0 h 3962"/>
                <a:gd name="T14" fmla="*/ 0 w 2616"/>
                <a:gd name="T15" fmla="*/ 0 h 3962"/>
                <a:gd name="T16" fmla="*/ 0 w 2616"/>
                <a:gd name="T17" fmla="*/ 0 h 3962"/>
                <a:gd name="T18" fmla="*/ 0 w 2616"/>
                <a:gd name="T19" fmla="*/ 0 h 3962"/>
                <a:gd name="T20" fmla="*/ 0 w 2616"/>
                <a:gd name="T21" fmla="*/ 0 h 3962"/>
                <a:gd name="T22" fmla="*/ 0 w 2616"/>
                <a:gd name="T23" fmla="*/ 0 h 3962"/>
                <a:gd name="T24" fmla="*/ 0 w 2616"/>
                <a:gd name="T25" fmla="*/ 0 h 3962"/>
                <a:gd name="T26" fmla="*/ 0 w 2616"/>
                <a:gd name="T27" fmla="*/ 0 h 3962"/>
                <a:gd name="T28" fmla="*/ 0 w 2616"/>
                <a:gd name="T29" fmla="*/ 0 h 3962"/>
                <a:gd name="T30" fmla="*/ 0 w 2616"/>
                <a:gd name="T31" fmla="*/ 0 h 3962"/>
                <a:gd name="T32" fmla="*/ 0 w 2616"/>
                <a:gd name="T33" fmla="*/ 0 h 3962"/>
                <a:gd name="T34" fmla="*/ 0 w 2616"/>
                <a:gd name="T35" fmla="*/ 0 h 3962"/>
                <a:gd name="T36" fmla="*/ 0 w 2616"/>
                <a:gd name="T37" fmla="*/ 0 h 3962"/>
                <a:gd name="T38" fmla="*/ 0 w 2616"/>
                <a:gd name="T39" fmla="*/ 0 h 3962"/>
                <a:gd name="T40" fmla="*/ 0 w 2616"/>
                <a:gd name="T41" fmla="*/ 0 h 3962"/>
                <a:gd name="T42" fmla="*/ 0 w 2616"/>
                <a:gd name="T43" fmla="*/ 0 h 3962"/>
                <a:gd name="T44" fmla="*/ 0 w 2616"/>
                <a:gd name="T45" fmla="*/ 0 h 3962"/>
                <a:gd name="T46" fmla="*/ 0 w 2616"/>
                <a:gd name="T47" fmla="*/ 0 h 3962"/>
                <a:gd name="T48" fmla="*/ 0 w 2616"/>
                <a:gd name="T49" fmla="*/ 0 h 3962"/>
                <a:gd name="T50" fmla="*/ 0 w 2616"/>
                <a:gd name="T51" fmla="*/ 0 h 3962"/>
                <a:gd name="T52" fmla="*/ 0 w 2616"/>
                <a:gd name="T53" fmla="*/ 0 h 3962"/>
                <a:gd name="T54" fmla="*/ 0 w 2616"/>
                <a:gd name="T55" fmla="*/ 0 h 3962"/>
                <a:gd name="T56" fmla="*/ 0 w 2616"/>
                <a:gd name="T57" fmla="*/ 0 h 3962"/>
                <a:gd name="T58" fmla="*/ 0 w 2616"/>
                <a:gd name="T59" fmla="*/ 0 h 3962"/>
                <a:gd name="T60" fmla="*/ 0 w 2616"/>
                <a:gd name="T61" fmla="*/ 0 h 3962"/>
                <a:gd name="T62" fmla="*/ 0 w 2616"/>
                <a:gd name="T63" fmla="*/ 0 h 3962"/>
                <a:gd name="T64" fmla="*/ 0 w 2616"/>
                <a:gd name="T65" fmla="*/ 0 h 3962"/>
                <a:gd name="T66" fmla="*/ 0 w 2616"/>
                <a:gd name="T67" fmla="*/ 0 h 3962"/>
                <a:gd name="T68" fmla="*/ 0 w 2616"/>
                <a:gd name="T69" fmla="*/ 0 h 3962"/>
                <a:gd name="T70" fmla="*/ 0 w 2616"/>
                <a:gd name="T71" fmla="*/ 0 h 3962"/>
                <a:gd name="T72" fmla="*/ 0 w 2616"/>
                <a:gd name="T73" fmla="*/ 0 h 3962"/>
                <a:gd name="T74" fmla="*/ 0 w 2616"/>
                <a:gd name="T75" fmla="*/ 0 h 3962"/>
                <a:gd name="T76" fmla="*/ 0 w 2616"/>
                <a:gd name="T77" fmla="*/ 0 h 3962"/>
                <a:gd name="T78" fmla="*/ 0 w 2616"/>
                <a:gd name="T79" fmla="*/ 0 h 3962"/>
                <a:gd name="T80" fmla="*/ 0 w 2616"/>
                <a:gd name="T81" fmla="*/ 0 h 3962"/>
                <a:gd name="T82" fmla="*/ 0 w 2616"/>
                <a:gd name="T83" fmla="*/ 0 h 3962"/>
                <a:gd name="T84" fmla="*/ 0 w 2616"/>
                <a:gd name="T85" fmla="*/ 0 h 396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616" h="3962">
                  <a:moveTo>
                    <a:pt x="1638" y="3482"/>
                  </a:moveTo>
                  <a:lnTo>
                    <a:pt x="2616" y="0"/>
                  </a:lnTo>
                  <a:lnTo>
                    <a:pt x="3" y="0"/>
                  </a:lnTo>
                  <a:lnTo>
                    <a:pt x="0" y="3962"/>
                  </a:lnTo>
                  <a:lnTo>
                    <a:pt x="96" y="3962"/>
                  </a:lnTo>
                  <a:lnTo>
                    <a:pt x="96" y="2447"/>
                  </a:lnTo>
                  <a:lnTo>
                    <a:pt x="405" y="2447"/>
                  </a:lnTo>
                  <a:lnTo>
                    <a:pt x="421" y="2447"/>
                  </a:lnTo>
                  <a:lnTo>
                    <a:pt x="466" y="2449"/>
                  </a:lnTo>
                  <a:lnTo>
                    <a:pt x="529" y="2458"/>
                  </a:lnTo>
                  <a:lnTo>
                    <a:pt x="602" y="2477"/>
                  </a:lnTo>
                  <a:lnTo>
                    <a:pt x="678" y="2513"/>
                  </a:lnTo>
                  <a:lnTo>
                    <a:pt x="748" y="2573"/>
                  </a:lnTo>
                  <a:lnTo>
                    <a:pt x="804" y="2656"/>
                  </a:lnTo>
                  <a:lnTo>
                    <a:pt x="828" y="2719"/>
                  </a:lnTo>
                  <a:lnTo>
                    <a:pt x="842" y="2790"/>
                  </a:lnTo>
                  <a:lnTo>
                    <a:pt x="850" y="2898"/>
                  </a:lnTo>
                  <a:lnTo>
                    <a:pt x="850" y="3002"/>
                  </a:lnTo>
                  <a:lnTo>
                    <a:pt x="842" y="3098"/>
                  </a:lnTo>
                  <a:lnTo>
                    <a:pt x="828" y="3171"/>
                  </a:lnTo>
                  <a:lnTo>
                    <a:pt x="817" y="3206"/>
                  </a:lnTo>
                  <a:lnTo>
                    <a:pt x="805" y="3228"/>
                  </a:lnTo>
                  <a:lnTo>
                    <a:pt x="779" y="3270"/>
                  </a:lnTo>
                  <a:lnTo>
                    <a:pt x="736" y="3322"/>
                  </a:lnTo>
                  <a:lnTo>
                    <a:pt x="675" y="3373"/>
                  </a:lnTo>
                  <a:lnTo>
                    <a:pt x="597" y="3408"/>
                  </a:lnTo>
                  <a:lnTo>
                    <a:pt x="496" y="3418"/>
                  </a:lnTo>
                  <a:lnTo>
                    <a:pt x="470" y="3418"/>
                  </a:lnTo>
                  <a:lnTo>
                    <a:pt x="421" y="3416"/>
                  </a:lnTo>
                  <a:lnTo>
                    <a:pt x="395" y="3414"/>
                  </a:lnTo>
                  <a:lnTo>
                    <a:pt x="395" y="3948"/>
                  </a:lnTo>
                  <a:lnTo>
                    <a:pt x="1117" y="3948"/>
                  </a:lnTo>
                  <a:lnTo>
                    <a:pt x="1104" y="3945"/>
                  </a:lnTo>
                  <a:lnTo>
                    <a:pt x="1073" y="3931"/>
                  </a:lnTo>
                  <a:lnTo>
                    <a:pt x="1031" y="3907"/>
                  </a:lnTo>
                  <a:lnTo>
                    <a:pt x="984" y="3867"/>
                  </a:lnTo>
                  <a:lnTo>
                    <a:pt x="943" y="3808"/>
                  </a:lnTo>
                  <a:lnTo>
                    <a:pt x="911" y="3728"/>
                  </a:lnTo>
                  <a:lnTo>
                    <a:pt x="899" y="3623"/>
                  </a:lnTo>
                  <a:lnTo>
                    <a:pt x="899" y="3609"/>
                  </a:lnTo>
                  <a:lnTo>
                    <a:pt x="899" y="3569"/>
                  </a:lnTo>
                  <a:lnTo>
                    <a:pt x="899" y="3507"/>
                  </a:lnTo>
                  <a:lnTo>
                    <a:pt x="899" y="3428"/>
                  </a:lnTo>
                  <a:lnTo>
                    <a:pt x="899" y="3340"/>
                  </a:lnTo>
                  <a:lnTo>
                    <a:pt x="899" y="3242"/>
                  </a:lnTo>
                  <a:lnTo>
                    <a:pt x="899" y="3143"/>
                  </a:lnTo>
                  <a:lnTo>
                    <a:pt x="899" y="3046"/>
                  </a:lnTo>
                  <a:lnTo>
                    <a:pt x="899" y="2957"/>
                  </a:lnTo>
                  <a:lnTo>
                    <a:pt x="899" y="2879"/>
                  </a:lnTo>
                  <a:lnTo>
                    <a:pt x="899" y="2816"/>
                  </a:lnTo>
                  <a:lnTo>
                    <a:pt x="899" y="2776"/>
                  </a:lnTo>
                  <a:lnTo>
                    <a:pt x="899" y="2762"/>
                  </a:lnTo>
                  <a:lnTo>
                    <a:pt x="897" y="2747"/>
                  </a:lnTo>
                  <a:lnTo>
                    <a:pt x="899" y="2708"/>
                  </a:lnTo>
                  <a:lnTo>
                    <a:pt x="908" y="2654"/>
                  </a:lnTo>
                  <a:lnTo>
                    <a:pt x="929" y="2593"/>
                  </a:lnTo>
                  <a:lnTo>
                    <a:pt x="969" y="2531"/>
                  </a:lnTo>
                  <a:lnTo>
                    <a:pt x="1033" y="2477"/>
                  </a:lnTo>
                  <a:lnTo>
                    <a:pt x="1127" y="2440"/>
                  </a:lnTo>
                  <a:lnTo>
                    <a:pt x="1139" y="2437"/>
                  </a:lnTo>
                  <a:lnTo>
                    <a:pt x="1172" y="2428"/>
                  </a:lnTo>
                  <a:lnTo>
                    <a:pt x="1223" y="2421"/>
                  </a:lnTo>
                  <a:lnTo>
                    <a:pt x="1285" y="2418"/>
                  </a:lnTo>
                  <a:lnTo>
                    <a:pt x="1355" y="2425"/>
                  </a:lnTo>
                  <a:lnTo>
                    <a:pt x="1426" y="2446"/>
                  </a:lnTo>
                  <a:lnTo>
                    <a:pt x="1494" y="2486"/>
                  </a:lnTo>
                  <a:lnTo>
                    <a:pt x="1557" y="2550"/>
                  </a:lnTo>
                  <a:lnTo>
                    <a:pt x="1565" y="2559"/>
                  </a:lnTo>
                  <a:lnTo>
                    <a:pt x="1588" y="2592"/>
                  </a:lnTo>
                  <a:lnTo>
                    <a:pt x="1612" y="2654"/>
                  </a:lnTo>
                  <a:lnTo>
                    <a:pt x="1628" y="2755"/>
                  </a:lnTo>
                  <a:lnTo>
                    <a:pt x="1624" y="2898"/>
                  </a:lnTo>
                  <a:lnTo>
                    <a:pt x="1550" y="2898"/>
                  </a:lnTo>
                  <a:lnTo>
                    <a:pt x="1411" y="2896"/>
                  </a:lnTo>
                  <a:lnTo>
                    <a:pt x="1334" y="2894"/>
                  </a:lnTo>
                  <a:lnTo>
                    <a:pt x="1334" y="2755"/>
                  </a:lnTo>
                  <a:lnTo>
                    <a:pt x="1331" y="2738"/>
                  </a:lnTo>
                  <a:lnTo>
                    <a:pt x="1311" y="2705"/>
                  </a:lnTo>
                  <a:lnTo>
                    <a:pt x="1266" y="2687"/>
                  </a:lnTo>
                  <a:lnTo>
                    <a:pt x="1221" y="2701"/>
                  </a:lnTo>
                  <a:lnTo>
                    <a:pt x="1204" y="2733"/>
                  </a:lnTo>
                  <a:lnTo>
                    <a:pt x="1200" y="2776"/>
                  </a:lnTo>
                  <a:lnTo>
                    <a:pt x="1200" y="2792"/>
                  </a:lnTo>
                  <a:lnTo>
                    <a:pt x="1200" y="2839"/>
                  </a:lnTo>
                  <a:lnTo>
                    <a:pt x="1200" y="2908"/>
                  </a:lnTo>
                  <a:lnTo>
                    <a:pt x="1200" y="2997"/>
                  </a:lnTo>
                  <a:lnTo>
                    <a:pt x="1200" y="3096"/>
                  </a:lnTo>
                  <a:lnTo>
                    <a:pt x="1200" y="3202"/>
                  </a:lnTo>
                  <a:lnTo>
                    <a:pt x="1200" y="3308"/>
                  </a:lnTo>
                  <a:lnTo>
                    <a:pt x="1200" y="3409"/>
                  </a:lnTo>
                  <a:lnTo>
                    <a:pt x="1200" y="3496"/>
                  </a:lnTo>
                  <a:lnTo>
                    <a:pt x="1200" y="3568"/>
                  </a:lnTo>
                  <a:lnTo>
                    <a:pt x="1200" y="3613"/>
                  </a:lnTo>
                  <a:lnTo>
                    <a:pt x="1200" y="3630"/>
                  </a:lnTo>
                  <a:lnTo>
                    <a:pt x="1202" y="3649"/>
                  </a:lnTo>
                  <a:lnTo>
                    <a:pt x="1216" y="3688"/>
                  </a:lnTo>
                  <a:lnTo>
                    <a:pt x="1263" y="3717"/>
                  </a:lnTo>
                  <a:lnTo>
                    <a:pt x="1303" y="3714"/>
                  </a:lnTo>
                  <a:lnTo>
                    <a:pt x="1336" y="3688"/>
                  </a:lnTo>
                  <a:lnTo>
                    <a:pt x="1350" y="3642"/>
                  </a:lnTo>
                  <a:lnTo>
                    <a:pt x="1350" y="3576"/>
                  </a:lnTo>
                  <a:lnTo>
                    <a:pt x="1350" y="3456"/>
                  </a:lnTo>
                  <a:lnTo>
                    <a:pt x="1350" y="3390"/>
                  </a:lnTo>
                  <a:lnTo>
                    <a:pt x="1268" y="3390"/>
                  </a:lnTo>
                  <a:lnTo>
                    <a:pt x="1268" y="3127"/>
                  </a:lnTo>
                  <a:lnTo>
                    <a:pt x="1638" y="3127"/>
                  </a:lnTo>
                  <a:lnTo>
                    <a:pt x="1638" y="3482"/>
                  </a:lnTo>
                  <a:lnTo>
                    <a:pt x="1649" y="3482"/>
                  </a:lnTo>
                  <a:lnTo>
                    <a:pt x="1638" y="3482"/>
                  </a:lnTo>
                  <a:close/>
                </a:path>
              </a:pathLst>
            </a:custGeom>
            <a:solidFill>
              <a:srgbClr val="0079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38" name="Freeform 15"/>
            <p:cNvSpPr>
              <a:spLocks noEditPoints="1"/>
            </p:cNvSpPr>
            <p:nvPr/>
          </p:nvSpPr>
          <p:spPr bwMode="auto">
            <a:xfrm>
              <a:off x="19993" y="1044"/>
              <a:ext cx="233" cy="233"/>
            </a:xfrm>
            <a:custGeom>
              <a:avLst/>
              <a:gdLst>
                <a:gd name="T0" fmla="*/ 1 w 461"/>
                <a:gd name="T1" fmla="*/ 1 h 460"/>
                <a:gd name="T2" fmla="*/ 1 w 461"/>
                <a:gd name="T3" fmla="*/ 1 h 460"/>
                <a:gd name="T4" fmla="*/ 1 w 461"/>
                <a:gd name="T5" fmla="*/ 1 h 460"/>
                <a:gd name="T6" fmla="*/ 1 w 461"/>
                <a:gd name="T7" fmla="*/ 1 h 460"/>
                <a:gd name="T8" fmla="*/ 1 w 461"/>
                <a:gd name="T9" fmla="*/ 1 h 460"/>
                <a:gd name="T10" fmla="*/ 1 w 461"/>
                <a:gd name="T11" fmla="*/ 1 h 460"/>
                <a:gd name="T12" fmla="*/ 1 w 461"/>
                <a:gd name="T13" fmla="*/ 1 h 460"/>
                <a:gd name="T14" fmla="*/ 1 w 461"/>
                <a:gd name="T15" fmla="*/ 1 h 460"/>
                <a:gd name="T16" fmla="*/ 1 w 461"/>
                <a:gd name="T17" fmla="*/ 1 h 460"/>
                <a:gd name="T18" fmla="*/ 1 w 461"/>
                <a:gd name="T19" fmla="*/ 1 h 460"/>
                <a:gd name="T20" fmla="*/ 0 w 461"/>
                <a:gd name="T21" fmla="*/ 1 h 460"/>
                <a:gd name="T22" fmla="*/ 1 w 461"/>
                <a:gd name="T23" fmla="*/ 1 h 460"/>
                <a:gd name="T24" fmla="*/ 1 w 461"/>
                <a:gd name="T25" fmla="*/ 1 h 460"/>
                <a:gd name="T26" fmla="*/ 1 w 461"/>
                <a:gd name="T27" fmla="*/ 1 h 460"/>
                <a:gd name="T28" fmla="*/ 1 w 461"/>
                <a:gd name="T29" fmla="*/ 1 h 460"/>
                <a:gd name="T30" fmla="*/ 1 w 461"/>
                <a:gd name="T31" fmla="*/ 1 h 460"/>
                <a:gd name="T32" fmla="*/ 1 w 461"/>
                <a:gd name="T33" fmla="*/ 1 h 460"/>
                <a:gd name="T34" fmla="*/ 1 w 461"/>
                <a:gd name="T35" fmla="*/ 1 h 460"/>
                <a:gd name="T36" fmla="*/ 1 w 461"/>
                <a:gd name="T37" fmla="*/ 1 h 460"/>
                <a:gd name="T38" fmla="*/ 1 w 461"/>
                <a:gd name="T39" fmla="*/ 0 h 460"/>
                <a:gd name="T40" fmla="*/ 1 w 461"/>
                <a:gd name="T41" fmla="*/ 1 h 460"/>
                <a:gd name="T42" fmla="*/ 1 w 461"/>
                <a:gd name="T43" fmla="*/ 1 h 460"/>
                <a:gd name="T44" fmla="*/ 0 w 461"/>
                <a:gd name="T45" fmla="*/ 1 h 460"/>
                <a:gd name="T46" fmla="*/ 1 w 461"/>
                <a:gd name="T47" fmla="*/ 1 h 460"/>
                <a:gd name="T48" fmla="*/ 1 w 461"/>
                <a:gd name="T49" fmla="*/ 1 h 460"/>
                <a:gd name="T50" fmla="*/ 1 w 461"/>
                <a:gd name="T51" fmla="*/ 1 h 460"/>
                <a:gd name="T52" fmla="*/ 1 w 461"/>
                <a:gd name="T53" fmla="*/ 1 h 460"/>
                <a:gd name="T54" fmla="*/ 1 w 461"/>
                <a:gd name="T55" fmla="*/ 1 h 460"/>
                <a:gd name="T56" fmla="*/ 1 w 461"/>
                <a:gd name="T57" fmla="*/ 1 h 460"/>
                <a:gd name="T58" fmla="*/ 1 w 461"/>
                <a:gd name="T59" fmla="*/ 1 h 460"/>
                <a:gd name="T60" fmla="*/ 1 w 461"/>
                <a:gd name="T61" fmla="*/ 1 h 460"/>
                <a:gd name="T62" fmla="*/ 1 w 461"/>
                <a:gd name="T63" fmla="*/ 1 h 460"/>
                <a:gd name="T64" fmla="*/ 1 w 461"/>
                <a:gd name="T65" fmla="*/ 1 h 460"/>
                <a:gd name="T66" fmla="*/ 1 w 461"/>
                <a:gd name="T67" fmla="*/ 1 h 460"/>
                <a:gd name="T68" fmla="*/ 1 w 461"/>
                <a:gd name="T69" fmla="*/ 1 h 460"/>
                <a:gd name="T70" fmla="*/ 1 w 461"/>
                <a:gd name="T71" fmla="*/ 1 h 460"/>
                <a:gd name="T72" fmla="*/ 1 w 461"/>
                <a:gd name="T73" fmla="*/ 1 h 460"/>
                <a:gd name="T74" fmla="*/ 1 w 461"/>
                <a:gd name="T75" fmla="*/ 1 h 460"/>
                <a:gd name="T76" fmla="*/ 1 w 461"/>
                <a:gd name="T77" fmla="*/ 1 h 460"/>
                <a:gd name="T78" fmla="*/ 1 w 461"/>
                <a:gd name="T79" fmla="*/ 1 h 460"/>
                <a:gd name="T80" fmla="*/ 1 w 461"/>
                <a:gd name="T81" fmla="*/ 1 h 460"/>
                <a:gd name="T82" fmla="*/ 1 w 461"/>
                <a:gd name="T83" fmla="*/ 1 h 460"/>
                <a:gd name="T84" fmla="*/ 1 w 461"/>
                <a:gd name="T85" fmla="*/ 1 h 460"/>
                <a:gd name="T86" fmla="*/ 1 w 461"/>
                <a:gd name="T87" fmla="*/ 1 h 46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61" h="460">
                  <a:moveTo>
                    <a:pt x="42" y="228"/>
                  </a:moveTo>
                  <a:lnTo>
                    <a:pt x="56" y="153"/>
                  </a:lnTo>
                  <a:lnTo>
                    <a:pt x="96" y="91"/>
                  </a:lnTo>
                  <a:lnTo>
                    <a:pt x="157" y="49"/>
                  </a:lnTo>
                  <a:lnTo>
                    <a:pt x="231" y="35"/>
                  </a:lnTo>
                  <a:lnTo>
                    <a:pt x="306" y="49"/>
                  </a:lnTo>
                  <a:lnTo>
                    <a:pt x="365" y="91"/>
                  </a:lnTo>
                  <a:lnTo>
                    <a:pt x="405" y="153"/>
                  </a:lnTo>
                  <a:lnTo>
                    <a:pt x="419" y="228"/>
                  </a:lnTo>
                  <a:lnTo>
                    <a:pt x="405" y="306"/>
                  </a:lnTo>
                  <a:lnTo>
                    <a:pt x="365" y="369"/>
                  </a:lnTo>
                  <a:lnTo>
                    <a:pt x="306" y="411"/>
                  </a:lnTo>
                  <a:lnTo>
                    <a:pt x="231" y="425"/>
                  </a:lnTo>
                  <a:lnTo>
                    <a:pt x="157" y="411"/>
                  </a:lnTo>
                  <a:lnTo>
                    <a:pt x="96" y="369"/>
                  </a:lnTo>
                  <a:lnTo>
                    <a:pt x="56" y="306"/>
                  </a:lnTo>
                  <a:lnTo>
                    <a:pt x="42" y="228"/>
                  </a:lnTo>
                  <a:close/>
                  <a:moveTo>
                    <a:pt x="0" y="228"/>
                  </a:moveTo>
                  <a:lnTo>
                    <a:pt x="12" y="303"/>
                  </a:lnTo>
                  <a:lnTo>
                    <a:pt x="45" y="367"/>
                  </a:lnTo>
                  <a:lnTo>
                    <a:pt x="96" y="416"/>
                  </a:lnTo>
                  <a:lnTo>
                    <a:pt x="158" y="447"/>
                  </a:lnTo>
                  <a:lnTo>
                    <a:pt x="231" y="460"/>
                  </a:lnTo>
                  <a:lnTo>
                    <a:pt x="303" y="447"/>
                  </a:lnTo>
                  <a:lnTo>
                    <a:pt x="367" y="416"/>
                  </a:lnTo>
                  <a:lnTo>
                    <a:pt x="416" y="367"/>
                  </a:lnTo>
                  <a:lnTo>
                    <a:pt x="449" y="303"/>
                  </a:lnTo>
                  <a:lnTo>
                    <a:pt x="461" y="228"/>
                  </a:lnTo>
                  <a:lnTo>
                    <a:pt x="449" y="155"/>
                  </a:lnTo>
                  <a:lnTo>
                    <a:pt x="416" y="93"/>
                  </a:lnTo>
                  <a:lnTo>
                    <a:pt x="367" y="44"/>
                  </a:lnTo>
                  <a:lnTo>
                    <a:pt x="303" y="12"/>
                  </a:lnTo>
                  <a:lnTo>
                    <a:pt x="231" y="0"/>
                  </a:lnTo>
                  <a:lnTo>
                    <a:pt x="158" y="12"/>
                  </a:lnTo>
                  <a:lnTo>
                    <a:pt x="96" y="44"/>
                  </a:lnTo>
                  <a:lnTo>
                    <a:pt x="45" y="93"/>
                  </a:lnTo>
                  <a:lnTo>
                    <a:pt x="12" y="155"/>
                  </a:lnTo>
                  <a:lnTo>
                    <a:pt x="0" y="228"/>
                  </a:lnTo>
                  <a:close/>
                  <a:moveTo>
                    <a:pt x="141" y="364"/>
                  </a:moveTo>
                  <a:lnTo>
                    <a:pt x="183" y="364"/>
                  </a:lnTo>
                  <a:lnTo>
                    <a:pt x="183" y="247"/>
                  </a:lnTo>
                  <a:lnTo>
                    <a:pt x="228" y="247"/>
                  </a:lnTo>
                  <a:lnTo>
                    <a:pt x="301" y="364"/>
                  </a:lnTo>
                  <a:lnTo>
                    <a:pt x="346" y="364"/>
                  </a:lnTo>
                  <a:lnTo>
                    <a:pt x="325" y="333"/>
                  </a:lnTo>
                  <a:lnTo>
                    <a:pt x="289" y="275"/>
                  </a:lnTo>
                  <a:lnTo>
                    <a:pt x="270" y="244"/>
                  </a:lnTo>
                  <a:lnTo>
                    <a:pt x="304" y="235"/>
                  </a:lnTo>
                  <a:lnTo>
                    <a:pt x="331" y="213"/>
                  </a:lnTo>
                  <a:lnTo>
                    <a:pt x="339" y="173"/>
                  </a:lnTo>
                  <a:lnTo>
                    <a:pt x="329" y="131"/>
                  </a:lnTo>
                  <a:lnTo>
                    <a:pt x="298" y="105"/>
                  </a:lnTo>
                  <a:lnTo>
                    <a:pt x="245" y="96"/>
                  </a:lnTo>
                  <a:lnTo>
                    <a:pt x="219" y="96"/>
                  </a:lnTo>
                  <a:lnTo>
                    <a:pt x="169" y="96"/>
                  </a:lnTo>
                  <a:lnTo>
                    <a:pt x="141" y="96"/>
                  </a:lnTo>
                  <a:lnTo>
                    <a:pt x="141" y="364"/>
                  </a:lnTo>
                  <a:close/>
                  <a:moveTo>
                    <a:pt x="183" y="129"/>
                  </a:moveTo>
                  <a:lnTo>
                    <a:pt x="198" y="129"/>
                  </a:lnTo>
                  <a:lnTo>
                    <a:pt x="224" y="129"/>
                  </a:lnTo>
                  <a:lnTo>
                    <a:pt x="238" y="129"/>
                  </a:lnTo>
                  <a:lnTo>
                    <a:pt x="266" y="133"/>
                  </a:lnTo>
                  <a:lnTo>
                    <a:pt x="289" y="145"/>
                  </a:lnTo>
                  <a:lnTo>
                    <a:pt x="298" y="171"/>
                  </a:lnTo>
                  <a:lnTo>
                    <a:pt x="287" y="202"/>
                  </a:lnTo>
                  <a:lnTo>
                    <a:pt x="261" y="213"/>
                  </a:lnTo>
                  <a:lnTo>
                    <a:pt x="226" y="216"/>
                  </a:lnTo>
                  <a:lnTo>
                    <a:pt x="216" y="216"/>
                  </a:lnTo>
                  <a:lnTo>
                    <a:pt x="195" y="216"/>
                  </a:lnTo>
                  <a:lnTo>
                    <a:pt x="183" y="216"/>
                  </a:lnTo>
                  <a:lnTo>
                    <a:pt x="183" y="129"/>
                  </a:lnTo>
                  <a:close/>
                </a:path>
              </a:pathLst>
            </a:custGeom>
            <a:solidFill>
              <a:srgbClr val="0079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</p:grpSp>
      <p:sp>
        <p:nvSpPr>
          <p:cNvPr id="1029" name="Line 2"/>
          <p:cNvSpPr>
            <a:spLocks noChangeShapeType="1"/>
          </p:cNvSpPr>
          <p:nvPr/>
        </p:nvSpPr>
        <p:spPr bwMode="auto">
          <a:xfrm>
            <a:off x="0" y="881063"/>
            <a:ext cx="9140825" cy="0"/>
          </a:xfrm>
          <a:prstGeom prst="line">
            <a:avLst/>
          </a:prstGeom>
          <a:noFill/>
          <a:ln w="25400">
            <a:solidFill>
              <a:srgbClr val="FAA53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31" name="TextBox 31"/>
          <p:cNvSpPr txBox="1">
            <a:spLocks noChangeArrowheads="1"/>
          </p:cNvSpPr>
          <p:nvPr/>
        </p:nvSpPr>
        <p:spPr bwMode="auto">
          <a:xfrm>
            <a:off x="8486775" y="6575425"/>
            <a:ext cx="6096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 eaLnBrk="0" hangingPunct="0"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 eaLnBrk="0" hangingPunct="0"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 eaLnBrk="0" hangingPunct="0"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 eaLnBrk="0" hangingPunct="0"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r">
              <a:defRPr/>
            </a:pPr>
            <a:fld id="{56EF491F-3E1B-464C-9C2E-B7093B1D379B}" type="slidenum">
              <a:rPr lang="en-US" sz="1000" smtClean="0"/>
              <a:pPr algn="r">
                <a:defRPr/>
              </a:pPr>
              <a:t>‹#›</a:t>
            </a:fld>
            <a:endParaRPr lang="en-US" sz="1000" dirty="0"/>
          </a:p>
        </p:txBody>
      </p:sp>
      <p:sp>
        <p:nvSpPr>
          <p:cNvPr id="2" name="TextBox 1"/>
          <p:cNvSpPr txBox="1"/>
          <p:nvPr/>
        </p:nvSpPr>
        <p:spPr>
          <a:xfrm>
            <a:off x="101600" y="6575425"/>
            <a:ext cx="25654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>
                <a:solidFill>
                  <a:prstClr val="black"/>
                </a:solidFill>
              </a:rPr>
              <a:t>Draft: for discussion purposes only</a:t>
            </a:r>
          </a:p>
        </p:txBody>
      </p:sp>
    </p:spTree>
    <p:extLst>
      <p:ext uri="{BB962C8B-B14F-4D97-AF65-F5344CB8AC3E}">
        <p14:creationId xmlns:p14="http://schemas.microsoft.com/office/powerpoint/2010/main" val="2093285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</p:sldLayoutIdLst>
  <p:txStyles>
    <p:titleStyle>
      <a:lvl1pPr algn="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99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99"/>
          </a:solidFill>
          <a:latin typeface="Arial" charset="0"/>
          <a:ea typeface="ＭＳ Ｐゴシック" pitchFamily="1" charset="-128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99"/>
          </a:solidFill>
          <a:latin typeface="Arial" charset="0"/>
          <a:ea typeface="ＭＳ Ｐゴシック" pitchFamily="1" charset="-128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99"/>
          </a:solidFill>
          <a:latin typeface="Arial" charset="0"/>
          <a:ea typeface="ＭＳ Ｐゴシック" pitchFamily="1" charset="-128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99"/>
          </a:solidFill>
          <a:latin typeface="Arial" charset="0"/>
          <a:ea typeface="ＭＳ Ｐゴシック" pitchFamily="1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B7893"/>
          </a:solidFill>
          <a:latin typeface="Arial" charset="0"/>
          <a:ea typeface="ＭＳ Ｐゴシック" pitchFamily="1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B7893"/>
          </a:solidFill>
          <a:latin typeface="Arial" charset="0"/>
          <a:ea typeface="ＭＳ Ｐゴシック" pitchFamily="1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B7893"/>
          </a:solidFill>
          <a:latin typeface="Arial" charset="0"/>
          <a:ea typeface="ＭＳ Ｐゴシック" pitchFamily="1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B7893"/>
          </a:solidFill>
          <a:latin typeface="Arial" charset="0"/>
          <a:ea typeface="ＭＳ Ｐゴシック" pitchFamily="1" charset="-128"/>
        </a:defRPr>
      </a:lvl9pPr>
    </p:titleStyle>
    <p:bodyStyle>
      <a:lvl1pPr marL="342900" indent="-342900" algn="l" rtl="0" eaLnBrk="0" fontAlgn="base" hangingPunct="0">
        <a:spcBef>
          <a:spcPct val="25000"/>
        </a:spcBef>
        <a:spcAft>
          <a:spcPct val="20000"/>
        </a:spcAft>
        <a:defRPr b="1">
          <a:solidFill>
            <a:srgbClr val="333333"/>
          </a:solidFill>
          <a:latin typeface="+mn-lt"/>
          <a:ea typeface="+mn-ea"/>
          <a:cs typeface="+mn-cs"/>
        </a:defRPr>
      </a:lvl1pPr>
      <a:lvl2pPr marL="285750" indent="-171450" algn="l" rtl="0" eaLnBrk="0" fontAlgn="base" hangingPunct="0">
        <a:spcBef>
          <a:spcPct val="25000"/>
        </a:spcBef>
        <a:spcAft>
          <a:spcPct val="20000"/>
        </a:spcAft>
        <a:buClr>
          <a:srgbClr val="006699"/>
        </a:buClr>
        <a:buSzPct val="10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2pPr>
      <a:lvl3pPr marL="574675" indent="-174625" algn="l" rtl="0" eaLnBrk="0" fontAlgn="base" hangingPunct="0">
        <a:spcBef>
          <a:spcPct val="25000"/>
        </a:spcBef>
        <a:spcAft>
          <a:spcPct val="20000"/>
        </a:spcAft>
        <a:buClr>
          <a:srgbClr val="006699"/>
        </a:buClr>
        <a:buFont typeface="Symbol" pitchFamily="18" charset="2"/>
        <a:buChar char=""/>
        <a:defRPr sz="1400">
          <a:solidFill>
            <a:srgbClr val="333333"/>
          </a:solidFill>
          <a:latin typeface="+mn-lt"/>
          <a:ea typeface="+mn-ea"/>
        </a:defRPr>
      </a:lvl3pPr>
      <a:lvl4pPr marL="855663" indent="-166688" algn="l" rtl="0" eaLnBrk="0" fontAlgn="base" hangingPunct="0">
        <a:spcBef>
          <a:spcPct val="25000"/>
        </a:spcBef>
        <a:spcAft>
          <a:spcPct val="20000"/>
        </a:spcAft>
        <a:buClr>
          <a:srgbClr val="006699"/>
        </a:buClr>
        <a:buSzPct val="100000"/>
        <a:buFont typeface="Arial" pitchFamily="34" charset="0"/>
        <a:buChar char="•"/>
        <a:defRPr sz="1200">
          <a:solidFill>
            <a:srgbClr val="333333"/>
          </a:solidFill>
          <a:latin typeface="+mn-lt"/>
          <a:ea typeface="+mn-ea"/>
        </a:defRPr>
      </a:lvl4pPr>
      <a:lvl5pPr marL="1143000" indent="-173038" algn="l" rtl="0" eaLnBrk="0" fontAlgn="base" hangingPunct="0">
        <a:spcBef>
          <a:spcPct val="25000"/>
        </a:spcBef>
        <a:spcAft>
          <a:spcPct val="20000"/>
        </a:spcAft>
        <a:buClr>
          <a:srgbClr val="006699"/>
        </a:buClr>
        <a:buFont typeface="Symbol" pitchFamily="18" charset="2"/>
        <a:buChar char=""/>
        <a:defRPr sz="1000">
          <a:solidFill>
            <a:srgbClr val="333333"/>
          </a:solidFill>
          <a:latin typeface="+mn-lt"/>
          <a:ea typeface="+mn-ea"/>
        </a:defRPr>
      </a:lvl5pPr>
      <a:lvl6pPr marL="1600200" indent="-173038" algn="l" rtl="0" eaLnBrk="1" fontAlgn="base" hangingPunct="1">
        <a:spcBef>
          <a:spcPct val="25000"/>
        </a:spcBef>
        <a:spcAft>
          <a:spcPct val="20000"/>
        </a:spcAft>
        <a:buClr>
          <a:srgbClr val="999999"/>
        </a:buClr>
        <a:buFont typeface="Symbol" pitchFamily="18" charset="2"/>
        <a:buChar char=""/>
        <a:defRPr sz="1000">
          <a:solidFill>
            <a:srgbClr val="333333"/>
          </a:solidFill>
          <a:latin typeface="+mn-lt"/>
          <a:ea typeface="+mn-ea"/>
        </a:defRPr>
      </a:lvl6pPr>
      <a:lvl7pPr marL="2057400" indent="-173038" algn="l" rtl="0" eaLnBrk="1" fontAlgn="base" hangingPunct="1">
        <a:spcBef>
          <a:spcPct val="25000"/>
        </a:spcBef>
        <a:spcAft>
          <a:spcPct val="20000"/>
        </a:spcAft>
        <a:buClr>
          <a:srgbClr val="999999"/>
        </a:buClr>
        <a:buFont typeface="Symbol" pitchFamily="18" charset="2"/>
        <a:buChar char=""/>
        <a:defRPr sz="1000">
          <a:solidFill>
            <a:srgbClr val="333333"/>
          </a:solidFill>
          <a:latin typeface="+mn-lt"/>
          <a:ea typeface="+mn-ea"/>
        </a:defRPr>
      </a:lvl7pPr>
      <a:lvl8pPr marL="2514600" indent="-173038" algn="l" rtl="0" eaLnBrk="1" fontAlgn="base" hangingPunct="1">
        <a:spcBef>
          <a:spcPct val="25000"/>
        </a:spcBef>
        <a:spcAft>
          <a:spcPct val="20000"/>
        </a:spcAft>
        <a:buClr>
          <a:srgbClr val="999999"/>
        </a:buClr>
        <a:buFont typeface="Symbol" pitchFamily="18" charset="2"/>
        <a:buChar char=""/>
        <a:defRPr sz="1000">
          <a:solidFill>
            <a:srgbClr val="333333"/>
          </a:solidFill>
          <a:latin typeface="+mn-lt"/>
          <a:ea typeface="+mn-ea"/>
        </a:defRPr>
      </a:lvl8pPr>
      <a:lvl9pPr marL="2971800" indent="-173038" algn="l" rtl="0" eaLnBrk="1" fontAlgn="base" hangingPunct="1">
        <a:spcBef>
          <a:spcPct val="25000"/>
        </a:spcBef>
        <a:spcAft>
          <a:spcPct val="20000"/>
        </a:spcAft>
        <a:buClr>
          <a:srgbClr val="999999"/>
        </a:buClr>
        <a:buFont typeface="Symbol" pitchFamily="18" charset="2"/>
        <a:buChar char=""/>
        <a:defRPr sz="10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3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541463" y="-4763"/>
            <a:ext cx="7450137" cy="79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45711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50950"/>
            <a:ext cx="8229600" cy="4679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028" name="Group 8"/>
          <p:cNvGrpSpPr>
            <a:grpSpLocks/>
          </p:cNvGrpSpPr>
          <p:nvPr/>
        </p:nvGrpSpPr>
        <p:grpSpPr bwMode="auto">
          <a:xfrm>
            <a:off x="101600" y="104775"/>
            <a:ext cx="668338" cy="685800"/>
            <a:chOff x="18142" y="955"/>
            <a:chExt cx="2084" cy="2140"/>
          </a:xfrm>
        </p:grpSpPr>
        <p:sp>
          <p:nvSpPr>
            <p:cNvPr id="1032" name="Rectangle 9"/>
            <p:cNvSpPr>
              <a:spLocks noChangeArrowheads="1"/>
            </p:cNvSpPr>
            <p:nvPr/>
          </p:nvSpPr>
          <p:spPr bwMode="auto">
            <a:xfrm>
              <a:off x="18142" y="955"/>
              <a:ext cx="1871" cy="214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en-US" sz="1600" dirty="0">
                <a:solidFill>
                  <a:srgbClr val="333333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033" name="Freeform 10"/>
            <p:cNvSpPr>
              <a:spLocks/>
            </p:cNvSpPr>
            <p:nvPr/>
          </p:nvSpPr>
          <p:spPr bwMode="auto">
            <a:xfrm>
              <a:off x="19102" y="2392"/>
              <a:ext cx="396" cy="619"/>
            </a:xfrm>
            <a:custGeom>
              <a:avLst/>
              <a:gdLst>
                <a:gd name="T0" fmla="*/ 1 w 790"/>
                <a:gd name="T1" fmla="*/ 1 h 1238"/>
                <a:gd name="T2" fmla="*/ 0 w 790"/>
                <a:gd name="T3" fmla="*/ 1 h 1238"/>
                <a:gd name="T4" fmla="*/ 1 w 790"/>
                <a:gd name="T5" fmla="*/ 1 h 1238"/>
                <a:gd name="T6" fmla="*/ 1 w 790"/>
                <a:gd name="T7" fmla="*/ 1 h 1238"/>
                <a:gd name="T8" fmla="*/ 1 w 790"/>
                <a:gd name="T9" fmla="*/ 1 h 1238"/>
                <a:gd name="T10" fmla="*/ 1 w 790"/>
                <a:gd name="T11" fmla="*/ 1 h 1238"/>
                <a:gd name="T12" fmla="*/ 1 w 790"/>
                <a:gd name="T13" fmla="*/ 1 h 1238"/>
                <a:gd name="T14" fmla="*/ 1 w 790"/>
                <a:gd name="T15" fmla="*/ 1 h 1238"/>
                <a:gd name="T16" fmla="*/ 1 w 790"/>
                <a:gd name="T17" fmla="*/ 1 h 1238"/>
                <a:gd name="T18" fmla="*/ 1 w 790"/>
                <a:gd name="T19" fmla="*/ 1 h 1238"/>
                <a:gd name="T20" fmla="*/ 1 w 790"/>
                <a:gd name="T21" fmla="*/ 1 h 1238"/>
                <a:gd name="T22" fmla="*/ 1 w 790"/>
                <a:gd name="T23" fmla="*/ 1 h 1238"/>
                <a:gd name="T24" fmla="*/ 1 w 790"/>
                <a:gd name="T25" fmla="*/ 1 h 1238"/>
                <a:gd name="T26" fmla="*/ 1 w 790"/>
                <a:gd name="T27" fmla="*/ 1 h 1238"/>
                <a:gd name="T28" fmla="*/ 1 w 790"/>
                <a:gd name="T29" fmla="*/ 0 h 1238"/>
                <a:gd name="T30" fmla="*/ 1 w 790"/>
                <a:gd name="T31" fmla="*/ 1 h 1238"/>
                <a:gd name="T32" fmla="*/ 1 w 790"/>
                <a:gd name="T33" fmla="*/ 1 h 1238"/>
                <a:gd name="T34" fmla="*/ 1 w 790"/>
                <a:gd name="T35" fmla="*/ 1 h 1238"/>
                <a:gd name="T36" fmla="*/ 1 w 790"/>
                <a:gd name="T37" fmla="*/ 1 h 1238"/>
                <a:gd name="T38" fmla="*/ 1 w 790"/>
                <a:gd name="T39" fmla="*/ 1 h 1238"/>
                <a:gd name="T40" fmla="*/ 1 w 790"/>
                <a:gd name="T41" fmla="*/ 1 h 1238"/>
                <a:gd name="T42" fmla="*/ 1 w 790"/>
                <a:gd name="T43" fmla="*/ 1 h 1238"/>
                <a:gd name="T44" fmla="*/ 1 w 790"/>
                <a:gd name="T45" fmla="*/ 1 h 1238"/>
                <a:gd name="T46" fmla="*/ 1 w 790"/>
                <a:gd name="T47" fmla="*/ 1 h 1238"/>
                <a:gd name="T48" fmla="*/ 1 w 790"/>
                <a:gd name="T49" fmla="*/ 1 h 1238"/>
                <a:gd name="T50" fmla="*/ 1 w 790"/>
                <a:gd name="T51" fmla="*/ 1 h 1238"/>
                <a:gd name="T52" fmla="*/ 1 w 790"/>
                <a:gd name="T53" fmla="*/ 1 h 1238"/>
                <a:gd name="T54" fmla="*/ 1 w 790"/>
                <a:gd name="T55" fmla="*/ 1 h 1238"/>
                <a:gd name="T56" fmla="*/ 1 w 790"/>
                <a:gd name="T57" fmla="*/ 1 h 1238"/>
                <a:gd name="T58" fmla="*/ 1 w 790"/>
                <a:gd name="T59" fmla="*/ 1 h 1238"/>
                <a:gd name="T60" fmla="*/ 1 w 790"/>
                <a:gd name="T61" fmla="*/ 1 h 1238"/>
                <a:gd name="T62" fmla="*/ 1 w 790"/>
                <a:gd name="T63" fmla="*/ 1 h 1238"/>
                <a:gd name="T64" fmla="*/ 1 w 790"/>
                <a:gd name="T65" fmla="*/ 1 h 1238"/>
                <a:gd name="T66" fmla="*/ 1 w 790"/>
                <a:gd name="T67" fmla="*/ 1 h 1238"/>
                <a:gd name="T68" fmla="*/ 1 w 790"/>
                <a:gd name="T69" fmla="*/ 1 h 1238"/>
                <a:gd name="T70" fmla="*/ 1 w 790"/>
                <a:gd name="T71" fmla="*/ 1 h 1238"/>
                <a:gd name="T72" fmla="*/ 1 w 790"/>
                <a:gd name="T73" fmla="*/ 1 h 1238"/>
                <a:gd name="T74" fmla="*/ 1 w 790"/>
                <a:gd name="T75" fmla="*/ 1 h 1238"/>
                <a:gd name="T76" fmla="*/ 1 w 790"/>
                <a:gd name="T77" fmla="*/ 1 h 1238"/>
                <a:gd name="T78" fmla="*/ 1 w 790"/>
                <a:gd name="T79" fmla="*/ 1 h 1238"/>
                <a:gd name="T80" fmla="*/ 1 w 790"/>
                <a:gd name="T81" fmla="*/ 1 h 1238"/>
                <a:gd name="T82" fmla="*/ 1 w 790"/>
                <a:gd name="T83" fmla="*/ 1 h 1238"/>
                <a:gd name="T84" fmla="*/ 1 w 790"/>
                <a:gd name="T85" fmla="*/ 1 h 1238"/>
                <a:gd name="T86" fmla="*/ 1 w 790"/>
                <a:gd name="T87" fmla="*/ 1 h 123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790" h="1238">
                  <a:moveTo>
                    <a:pt x="78" y="1113"/>
                  </a:moveTo>
                  <a:lnTo>
                    <a:pt x="31" y="1021"/>
                  </a:lnTo>
                  <a:lnTo>
                    <a:pt x="7" y="937"/>
                  </a:lnTo>
                  <a:lnTo>
                    <a:pt x="0" y="861"/>
                  </a:lnTo>
                  <a:lnTo>
                    <a:pt x="5" y="794"/>
                  </a:lnTo>
                  <a:lnTo>
                    <a:pt x="23" y="737"/>
                  </a:lnTo>
                  <a:lnTo>
                    <a:pt x="44" y="690"/>
                  </a:lnTo>
                  <a:lnTo>
                    <a:pt x="68" y="652"/>
                  </a:lnTo>
                  <a:lnTo>
                    <a:pt x="91" y="624"/>
                  </a:lnTo>
                  <a:lnTo>
                    <a:pt x="106" y="607"/>
                  </a:lnTo>
                  <a:lnTo>
                    <a:pt x="113" y="601"/>
                  </a:lnTo>
                  <a:lnTo>
                    <a:pt x="134" y="581"/>
                  </a:lnTo>
                  <a:lnTo>
                    <a:pt x="174" y="540"/>
                  </a:lnTo>
                  <a:lnTo>
                    <a:pt x="195" y="520"/>
                  </a:lnTo>
                  <a:lnTo>
                    <a:pt x="143" y="426"/>
                  </a:lnTo>
                  <a:lnTo>
                    <a:pt x="115" y="342"/>
                  </a:lnTo>
                  <a:lnTo>
                    <a:pt x="106" y="271"/>
                  </a:lnTo>
                  <a:lnTo>
                    <a:pt x="111" y="208"/>
                  </a:lnTo>
                  <a:lnTo>
                    <a:pt x="129" y="153"/>
                  </a:lnTo>
                  <a:lnTo>
                    <a:pt x="195" y="64"/>
                  </a:lnTo>
                  <a:lnTo>
                    <a:pt x="275" y="19"/>
                  </a:lnTo>
                  <a:lnTo>
                    <a:pt x="311" y="7"/>
                  </a:lnTo>
                  <a:lnTo>
                    <a:pt x="346" y="1"/>
                  </a:lnTo>
                  <a:lnTo>
                    <a:pt x="428" y="0"/>
                  </a:lnTo>
                  <a:lnTo>
                    <a:pt x="529" y="17"/>
                  </a:lnTo>
                  <a:lnTo>
                    <a:pt x="623" y="73"/>
                  </a:lnTo>
                  <a:lnTo>
                    <a:pt x="640" y="88"/>
                  </a:lnTo>
                  <a:lnTo>
                    <a:pt x="673" y="149"/>
                  </a:lnTo>
                  <a:lnTo>
                    <a:pt x="694" y="276"/>
                  </a:lnTo>
                  <a:lnTo>
                    <a:pt x="694" y="297"/>
                  </a:lnTo>
                  <a:lnTo>
                    <a:pt x="694" y="332"/>
                  </a:lnTo>
                  <a:lnTo>
                    <a:pt x="694" y="353"/>
                  </a:lnTo>
                  <a:lnTo>
                    <a:pt x="463" y="353"/>
                  </a:lnTo>
                  <a:lnTo>
                    <a:pt x="463" y="328"/>
                  </a:lnTo>
                  <a:lnTo>
                    <a:pt x="463" y="283"/>
                  </a:lnTo>
                  <a:lnTo>
                    <a:pt x="463" y="260"/>
                  </a:lnTo>
                  <a:lnTo>
                    <a:pt x="444" y="217"/>
                  </a:lnTo>
                  <a:lnTo>
                    <a:pt x="414" y="201"/>
                  </a:lnTo>
                  <a:lnTo>
                    <a:pt x="398" y="198"/>
                  </a:lnTo>
                  <a:lnTo>
                    <a:pt x="355" y="205"/>
                  </a:lnTo>
                  <a:lnTo>
                    <a:pt x="331" y="234"/>
                  </a:lnTo>
                  <a:lnTo>
                    <a:pt x="324" y="274"/>
                  </a:lnTo>
                  <a:lnTo>
                    <a:pt x="322" y="283"/>
                  </a:lnTo>
                  <a:lnTo>
                    <a:pt x="327" y="314"/>
                  </a:lnTo>
                  <a:lnTo>
                    <a:pt x="358" y="374"/>
                  </a:lnTo>
                  <a:lnTo>
                    <a:pt x="400" y="438"/>
                  </a:lnTo>
                  <a:lnTo>
                    <a:pt x="458" y="521"/>
                  </a:lnTo>
                  <a:lnTo>
                    <a:pt x="518" y="607"/>
                  </a:lnTo>
                  <a:lnTo>
                    <a:pt x="565" y="671"/>
                  </a:lnTo>
                  <a:lnTo>
                    <a:pt x="584" y="697"/>
                  </a:lnTo>
                  <a:lnTo>
                    <a:pt x="584" y="534"/>
                  </a:lnTo>
                  <a:lnTo>
                    <a:pt x="786" y="534"/>
                  </a:lnTo>
                  <a:lnTo>
                    <a:pt x="786" y="554"/>
                  </a:lnTo>
                  <a:lnTo>
                    <a:pt x="786" y="608"/>
                  </a:lnTo>
                  <a:lnTo>
                    <a:pt x="786" y="690"/>
                  </a:lnTo>
                  <a:lnTo>
                    <a:pt x="786" y="786"/>
                  </a:lnTo>
                  <a:lnTo>
                    <a:pt x="786" y="890"/>
                  </a:lnTo>
                  <a:lnTo>
                    <a:pt x="786" y="991"/>
                  </a:lnTo>
                  <a:lnTo>
                    <a:pt x="786" y="1080"/>
                  </a:lnTo>
                  <a:lnTo>
                    <a:pt x="788" y="1148"/>
                  </a:lnTo>
                  <a:lnTo>
                    <a:pt x="788" y="1184"/>
                  </a:lnTo>
                  <a:lnTo>
                    <a:pt x="790" y="1201"/>
                  </a:lnTo>
                  <a:lnTo>
                    <a:pt x="776" y="1229"/>
                  </a:lnTo>
                  <a:lnTo>
                    <a:pt x="722" y="1238"/>
                  </a:lnTo>
                  <a:lnTo>
                    <a:pt x="666" y="1238"/>
                  </a:lnTo>
                  <a:lnTo>
                    <a:pt x="544" y="1238"/>
                  </a:lnTo>
                  <a:lnTo>
                    <a:pt x="423" y="1238"/>
                  </a:lnTo>
                  <a:lnTo>
                    <a:pt x="369" y="1238"/>
                  </a:lnTo>
                  <a:lnTo>
                    <a:pt x="78" y="1113"/>
                  </a:lnTo>
                  <a:close/>
                </a:path>
              </a:pathLst>
            </a:custGeom>
            <a:solidFill>
              <a:srgbClr val="FFA9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34" name="Freeform 11"/>
            <p:cNvSpPr>
              <a:spLocks/>
            </p:cNvSpPr>
            <p:nvPr/>
          </p:nvSpPr>
          <p:spPr bwMode="auto">
            <a:xfrm>
              <a:off x="19221" y="2738"/>
              <a:ext cx="168" cy="173"/>
            </a:xfrm>
            <a:custGeom>
              <a:avLst/>
              <a:gdLst>
                <a:gd name="T0" fmla="*/ 1 w 336"/>
                <a:gd name="T1" fmla="*/ 1 h 343"/>
                <a:gd name="T2" fmla="*/ 1 w 336"/>
                <a:gd name="T3" fmla="*/ 1 h 343"/>
                <a:gd name="T4" fmla="*/ 1 w 336"/>
                <a:gd name="T5" fmla="*/ 1 h 343"/>
                <a:gd name="T6" fmla="*/ 1 w 336"/>
                <a:gd name="T7" fmla="*/ 1 h 343"/>
                <a:gd name="T8" fmla="*/ 1 w 336"/>
                <a:gd name="T9" fmla="*/ 1 h 343"/>
                <a:gd name="T10" fmla="*/ 1 w 336"/>
                <a:gd name="T11" fmla="*/ 1 h 343"/>
                <a:gd name="T12" fmla="*/ 1 w 336"/>
                <a:gd name="T13" fmla="*/ 1 h 343"/>
                <a:gd name="T14" fmla="*/ 1 w 336"/>
                <a:gd name="T15" fmla="*/ 0 h 343"/>
                <a:gd name="T16" fmla="*/ 1 w 336"/>
                <a:gd name="T17" fmla="*/ 0 h 343"/>
                <a:gd name="T18" fmla="*/ 1 w 336"/>
                <a:gd name="T19" fmla="*/ 1 h 343"/>
                <a:gd name="T20" fmla="*/ 1 w 336"/>
                <a:gd name="T21" fmla="*/ 1 h 343"/>
                <a:gd name="T22" fmla="*/ 0 w 336"/>
                <a:gd name="T23" fmla="*/ 1 h 343"/>
                <a:gd name="T24" fmla="*/ 1 w 336"/>
                <a:gd name="T25" fmla="*/ 1 h 343"/>
                <a:gd name="T26" fmla="*/ 1 w 336"/>
                <a:gd name="T27" fmla="*/ 1 h 343"/>
                <a:gd name="T28" fmla="*/ 1 w 336"/>
                <a:gd name="T29" fmla="*/ 1 h 343"/>
                <a:gd name="T30" fmla="*/ 1 w 336"/>
                <a:gd name="T31" fmla="*/ 1 h 343"/>
                <a:gd name="T32" fmla="*/ 1 w 336"/>
                <a:gd name="T33" fmla="*/ 1 h 343"/>
                <a:gd name="T34" fmla="*/ 1 w 336"/>
                <a:gd name="T35" fmla="*/ 1 h 343"/>
                <a:gd name="T36" fmla="*/ 1 w 336"/>
                <a:gd name="T37" fmla="*/ 1 h 343"/>
                <a:gd name="T38" fmla="*/ 1 w 336"/>
                <a:gd name="T39" fmla="*/ 1 h 343"/>
                <a:gd name="T40" fmla="*/ 1 w 336"/>
                <a:gd name="T41" fmla="*/ 1 h 343"/>
                <a:gd name="T42" fmla="*/ 1 w 336"/>
                <a:gd name="T43" fmla="*/ 1 h 34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336" h="343">
                  <a:moveTo>
                    <a:pt x="333" y="343"/>
                  </a:moveTo>
                  <a:lnTo>
                    <a:pt x="336" y="325"/>
                  </a:lnTo>
                  <a:lnTo>
                    <a:pt x="308" y="292"/>
                  </a:lnTo>
                  <a:lnTo>
                    <a:pt x="239" y="211"/>
                  </a:lnTo>
                  <a:lnTo>
                    <a:pt x="157" y="115"/>
                  </a:lnTo>
                  <a:lnTo>
                    <a:pt x="89" y="35"/>
                  </a:lnTo>
                  <a:lnTo>
                    <a:pt x="60" y="0"/>
                  </a:lnTo>
                  <a:lnTo>
                    <a:pt x="30" y="37"/>
                  </a:lnTo>
                  <a:lnTo>
                    <a:pt x="4" y="104"/>
                  </a:lnTo>
                  <a:lnTo>
                    <a:pt x="0" y="191"/>
                  </a:lnTo>
                  <a:lnTo>
                    <a:pt x="39" y="285"/>
                  </a:lnTo>
                  <a:lnTo>
                    <a:pt x="60" y="303"/>
                  </a:lnTo>
                  <a:lnTo>
                    <a:pt x="119" y="332"/>
                  </a:lnTo>
                  <a:lnTo>
                    <a:pt x="211" y="343"/>
                  </a:lnTo>
                  <a:lnTo>
                    <a:pt x="242" y="343"/>
                  </a:lnTo>
                  <a:lnTo>
                    <a:pt x="301" y="343"/>
                  </a:lnTo>
                  <a:lnTo>
                    <a:pt x="333" y="34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35" name="Freeform 12"/>
            <p:cNvSpPr>
              <a:spLocks/>
            </p:cNvSpPr>
            <p:nvPr/>
          </p:nvSpPr>
          <p:spPr bwMode="auto">
            <a:xfrm>
              <a:off x="19538" y="1039"/>
              <a:ext cx="391" cy="1977"/>
            </a:xfrm>
            <a:custGeom>
              <a:avLst/>
              <a:gdLst>
                <a:gd name="T0" fmla="*/ 0 w 785"/>
                <a:gd name="T1" fmla="*/ 0 h 3959"/>
                <a:gd name="T2" fmla="*/ 0 w 785"/>
                <a:gd name="T3" fmla="*/ 0 h 3959"/>
                <a:gd name="T4" fmla="*/ 0 w 785"/>
                <a:gd name="T5" fmla="*/ 0 h 3959"/>
                <a:gd name="T6" fmla="*/ 0 w 785"/>
                <a:gd name="T7" fmla="*/ 0 h 3959"/>
                <a:gd name="T8" fmla="*/ 0 w 785"/>
                <a:gd name="T9" fmla="*/ 0 h 3959"/>
                <a:gd name="T10" fmla="*/ 0 w 785"/>
                <a:gd name="T11" fmla="*/ 0 h 3959"/>
                <a:gd name="T12" fmla="*/ 0 w 785"/>
                <a:gd name="T13" fmla="*/ 0 h 3959"/>
                <a:gd name="T14" fmla="*/ 0 w 785"/>
                <a:gd name="T15" fmla="*/ 0 h 3959"/>
                <a:gd name="T16" fmla="*/ 0 w 785"/>
                <a:gd name="T17" fmla="*/ 0 h 3959"/>
                <a:gd name="T18" fmla="*/ 0 w 785"/>
                <a:gd name="T19" fmla="*/ 0 h 3959"/>
                <a:gd name="T20" fmla="*/ 0 w 785"/>
                <a:gd name="T21" fmla="*/ 0 h 3959"/>
                <a:gd name="T22" fmla="*/ 0 w 785"/>
                <a:gd name="T23" fmla="*/ 0 h 3959"/>
                <a:gd name="T24" fmla="*/ 0 w 785"/>
                <a:gd name="T25" fmla="*/ 0 h 3959"/>
                <a:gd name="T26" fmla="*/ 0 w 785"/>
                <a:gd name="T27" fmla="*/ 0 h 3959"/>
                <a:gd name="T28" fmla="*/ 0 w 785"/>
                <a:gd name="T29" fmla="*/ 0 h 3959"/>
                <a:gd name="T30" fmla="*/ 0 w 785"/>
                <a:gd name="T31" fmla="*/ 0 h 3959"/>
                <a:gd name="T32" fmla="*/ 0 w 785"/>
                <a:gd name="T33" fmla="*/ 0 h 39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785" h="3959">
                  <a:moveTo>
                    <a:pt x="0" y="0"/>
                  </a:moveTo>
                  <a:lnTo>
                    <a:pt x="0" y="3959"/>
                  </a:lnTo>
                  <a:lnTo>
                    <a:pt x="49" y="3959"/>
                  </a:lnTo>
                  <a:lnTo>
                    <a:pt x="49" y="2454"/>
                  </a:lnTo>
                  <a:lnTo>
                    <a:pt x="696" y="2454"/>
                  </a:lnTo>
                  <a:lnTo>
                    <a:pt x="696" y="2720"/>
                  </a:lnTo>
                  <a:lnTo>
                    <a:pt x="369" y="2720"/>
                  </a:lnTo>
                  <a:lnTo>
                    <a:pt x="369" y="3056"/>
                  </a:lnTo>
                  <a:lnTo>
                    <a:pt x="696" y="3056"/>
                  </a:lnTo>
                  <a:lnTo>
                    <a:pt x="696" y="3322"/>
                  </a:lnTo>
                  <a:lnTo>
                    <a:pt x="369" y="3322"/>
                  </a:lnTo>
                  <a:lnTo>
                    <a:pt x="369" y="3684"/>
                  </a:lnTo>
                  <a:lnTo>
                    <a:pt x="696" y="3684"/>
                  </a:lnTo>
                  <a:lnTo>
                    <a:pt x="696" y="3945"/>
                  </a:lnTo>
                  <a:lnTo>
                    <a:pt x="785" y="3945"/>
                  </a:lnTo>
                  <a:lnTo>
                    <a:pt x="78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9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36" name="Freeform 13"/>
            <p:cNvSpPr>
              <a:spLocks/>
            </p:cNvSpPr>
            <p:nvPr/>
          </p:nvSpPr>
          <p:spPr bwMode="auto">
            <a:xfrm>
              <a:off x="18424" y="2397"/>
              <a:ext cx="74" cy="218"/>
            </a:xfrm>
            <a:custGeom>
              <a:avLst/>
              <a:gdLst>
                <a:gd name="T0" fmla="*/ 0 w 152"/>
                <a:gd name="T1" fmla="*/ 0 h 435"/>
                <a:gd name="T2" fmla="*/ 0 w 152"/>
                <a:gd name="T3" fmla="*/ 1 h 435"/>
                <a:gd name="T4" fmla="*/ 0 w 152"/>
                <a:gd name="T5" fmla="*/ 1 h 435"/>
                <a:gd name="T6" fmla="*/ 0 w 152"/>
                <a:gd name="T7" fmla="*/ 1 h 435"/>
                <a:gd name="T8" fmla="*/ 0 w 152"/>
                <a:gd name="T9" fmla="*/ 1 h 435"/>
                <a:gd name="T10" fmla="*/ 0 w 152"/>
                <a:gd name="T11" fmla="*/ 1 h 435"/>
                <a:gd name="T12" fmla="*/ 0 w 152"/>
                <a:gd name="T13" fmla="*/ 1 h 435"/>
                <a:gd name="T14" fmla="*/ 0 w 152"/>
                <a:gd name="T15" fmla="*/ 1 h 435"/>
                <a:gd name="T16" fmla="*/ 0 w 152"/>
                <a:gd name="T17" fmla="*/ 1 h 435"/>
                <a:gd name="T18" fmla="*/ 0 w 152"/>
                <a:gd name="T19" fmla="*/ 1 h 435"/>
                <a:gd name="T20" fmla="*/ 0 w 152"/>
                <a:gd name="T21" fmla="*/ 1 h 435"/>
                <a:gd name="T22" fmla="*/ 0 w 152"/>
                <a:gd name="T23" fmla="*/ 1 h 435"/>
                <a:gd name="T24" fmla="*/ 0 w 152"/>
                <a:gd name="T25" fmla="*/ 1 h 435"/>
                <a:gd name="T26" fmla="*/ 0 w 152"/>
                <a:gd name="T27" fmla="*/ 1 h 435"/>
                <a:gd name="T28" fmla="*/ 0 w 152"/>
                <a:gd name="T29" fmla="*/ 1 h 435"/>
                <a:gd name="T30" fmla="*/ 0 w 152"/>
                <a:gd name="T31" fmla="*/ 1 h 435"/>
                <a:gd name="T32" fmla="*/ 0 w 152"/>
                <a:gd name="T33" fmla="*/ 1 h 435"/>
                <a:gd name="T34" fmla="*/ 0 w 152"/>
                <a:gd name="T35" fmla="*/ 1 h 435"/>
                <a:gd name="T36" fmla="*/ 0 w 152"/>
                <a:gd name="T37" fmla="*/ 0 h 435"/>
                <a:gd name="T38" fmla="*/ 0 w 152"/>
                <a:gd name="T39" fmla="*/ 0 h 43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2" h="435">
                  <a:moveTo>
                    <a:pt x="0" y="0"/>
                  </a:moveTo>
                  <a:lnTo>
                    <a:pt x="0" y="34"/>
                  </a:lnTo>
                  <a:lnTo>
                    <a:pt x="0" y="114"/>
                  </a:lnTo>
                  <a:lnTo>
                    <a:pt x="0" y="218"/>
                  </a:lnTo>
                  <a:lnTo>
                    <a:pt x="0" y="322"/>
                  </a:lnTo>
                  <a:lnTo>
                    <a:pt x="0" y="402"/>
                  </a:lnTo>
                  <a:lnTo>
                    <a:pt x="0" y="435"/>
                  </a:lnTo>
                  <a:lnTo>
                    <a:pt x="75" y="423"/>
                  </a:lnTo>
                  <a:lnTo>
                    <a:pt x="124" y="371"/>
                  </a:lnTo>
                  <a:lnTo>
                    <a:pt x="146" y="298"/>
                  </a:lnTo>
                  <a:lnTo>
                    <a:pt x="152" y="221"/>
                  </a:lnTo>
                  <a:lnTo>
                    <a:pt x="150" y="157"/>
                  </a:lnTo>
                  <a:lnTo>
                    <a:pt x="143" y="110"/>
                  </a:lnTo>
                  <a:lnTo>
                    <a:pt x="126" y="63"/>
                  </a:lnTo>
                  <a:lnTo>
                    <a:pt x="80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9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37" name="Freeform 14"/>
            <p:cNvSpPr>
              <a:spLocks/>
            </p:cNvSpPr>
            <p:nvPr/>
          </p:nvSpPr>
          <p:spPr bwMode="auto">
            <a:xfrm>
              <a:off x="18221" y="1039"/>
              <a:ext cx="1307" cy="1977"/>
            </a:xfrm>
            <a:custGeom>
              <a:avLst/>
              <a:gdLst>
                <a:gd name="T0" fmla="*/ 0 w 2616"/>
                <a:gd name="T1" fmla="*/ 0 h 3962"/>
                <a:gd name="T2" fmla="*/ 0 w 2616"/>
                <a:gd name="T3" fmla="*/ 0 h 3962"/>
                <a:gd name="T4" fmla="*/ 0 w 2616"/>
                <a:gd name="T5" fmla="*/ 0 h 3962"/>
                <a:gd name="T6" fmla="*/ 0 w 2616"/>
                <a:gd name="T7" fmla="*/ 0 h 3962"/>
                <a:gd name="T8" fmla="*/ 0 w 2616"/>
                <a:gd name="T9" fmla="*/ 0 h 3962"/>
                <a:gd name="T10" fmla="*/ 0 w 2616"/>
                <a:gd name="T11" fmla="*/ 0 h 3962"/>
                <a:gd name="T12" fmla="*/ 0 w 2616"/>
                <a:gd name="T13" fmla="*/ 0 h 3962"/>
                <a:gd name="T14" fmla="*/ 0 w 2616"/>
                <a:gd name="T15" fmla="*/ 0 h 3962"/>
                <a:gd name="T16" fmla="*/ 0 w 2616"/>
                <a:gd name="T17" fmla="*/ 0 h 3962"/>
                <a:gd name="T18" fmla="*/ 0 w 2616"/>
                <a:gd name="T19" fmla="*/ 0 h 3962"/>
                <a:gd name="T20" fmla="*/ 0 w 2616"/>
                <a:gd name="T21" fmla="*/ 0 h 3962"/>
                <a:gd name="T22" fmla="*/ 0 w 2616"/>
                <a:gd name="T23" fmla="*/ 0 h 3962"/>
                <a:gd name="T24" fmla="*/ 0 w 2616"/>
                <a:gd name="T25" fmla="*/ 0 h 3962"/>
                <a:gd name="T26" fmla="*/ 0 w 2616"/>
                <a:gd name="T27" fmla="*/ 0 h 3962"/>
                <a:gd name="T28" fmla="*/ 0 w 2616"/>
                <a:gd name="T29" fmla="*/ 0 h 3962"/>
                <a:gd name="T30" fmla="*/ 0 w 2616"/>
                <a:gd name="T31" fmla="*/ 0 h 3962"/>
                <a:gd name="T32" fmla="*/ 0 w 2616"/>
                <a:gd name="T33" fmla="*/ 0 h 3962"/>
                <a:gd name="T34" fmla="*/ 0 w 2616"/>
                <a:gd name="T35" fmla="*/ 0 h 3962"/>
                <a:gd name="T36" fmla="*/ 0 w 2616"/>
                <a:gd name="T37" fmla="*/ 0 h 3962"/>
                <a:gd name="T38" fmla="*/ 0 w 2616"/>
                <a:gd name="T39" fmla="*/ 0 h 3962"/>
                <a:gd name="T40" fmla="*/ 0 w 2616"/>
                <a:gd name="T41" fmla="*/ 0 h 3962"/>
                <a:gd name="T42" fmla="*/ 0 w 2616"/>
                <a:gd name="T43" fmla="*/ 0 h 3962"/>
                <a:gd name="T44" fmla="*/ 0 w 2616"/>
                <a:gd name="T45" fmla="*/ 0 h 3962"/>
                <a:gd name="T46" fmla="*/ 0 w 2616"/>
                <a:gd name="T47" fmla="*/ 0 h 3962"/>
                <a:gd name="T48" fmla="*/ 0 w 2616"/>
                <a:gd name="T49" fmla="*/ 0 h 3962"/>
                <a:gd name="T50" fmla="*/ 0 w 2616"/>
                <a:gd name="T51" fmla="*/ 0 h 3962"/>
                <a:gd name="T52" fmla="*/ 0 w 2616"/>
                <a:gd name="T53" fmla="*/ 0 h 3962"/>
                <a:gd name="T54" fmla="*/ 0 w 2616"/>
                <a:gd name="T55" fmla="*/ 0 h 3962"/>
                <a:gd name="T56" fmla="*/ 0 w 2616"/>
                <a:gd name="T57" fmla="*/ 0 h 3962"/>
                <a:gd name="T58" fmla="*/ 0 w 2616"/>
                <a:gd name="T59" fmla="*/ 0 h 3962"/>
                <a:gd name="T60" fmla="*/ 0 w 2616"/>
                <a:gd name="T61" fmla="*/ 0 h 3962"/>
                <a:gd name="T62" fmla="*/ 0 w 2616"/>
                <a:gd name="T63" fmla="*/ 0 h 3962"/>
                <a:gd name="T64" fmla="*/ 0 w 2616"/>
                <a:gd name="T65" fmla="*/ 0 h 3962"/>
                <a:gd name="T66" fmla="*/ 0 w 2616"/>
                <a:gd name="T67" fmla="*/ 0 h 3962"/>
                <a:gd name="T68" fmla="*/ 0 w 2616"/>
                <a:gd name="T69" fmla="*/ 0 h 3962"/>
                <a:gd name="T70" fmla="*/ 0 w 2616"/>
                <a:gd name="T71" fmla="*/ 0 h 3962"/>
                <a:gd name="T72" fmla="*/ 0 w 2616"/>
                <a:gd name="T73" fmla="*/ 0 h 3962"/>
                <a:gd name="T74" fmla="*/ 0 w 2616"/>
                <a:gd name="T75" fmla="*/ 0 h 3962"/>
                <a:gd name="T76" fmla="*/ 0 w 2616"/>
                <a:gd name="T77" fmla="*/ 0 h 3962"/>
                <a:gd name="T78" fmla="*/ 0 w 2616"/>
                <a:gd name="T79" fmla="*/ 0 h 3962"/>
                <a:gd name="T80" fmla="*/ 0 w 2616"/>
                <a:gd name="T81" fmla="*/ 0 h 3962"/>
                <a:gd name="T82" fmla="*/ 0 w 2616"/>
                <a:gd name="T83" fmla="*/ 0 h 3962"/>
                <a:gd name="T84" fmla="*/ 0 w 2616"/>
                <a:gd name="T85" fmla="*/ 0 h 396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616" h="3962">
                  <a:moveTo>
                    <a:pt x="1638" y="3482"/>
                  </a:moveTo>
                  <a:lnTo>
                    <a:pt x="2616" y="0"/>
                  </a:lnTo>
                  <a:lnTo>
                    <a:pt x="3" y="0"/>
                  </a:lnTo>
                  <a:lnTo>
                    <a:pt x="0" y="3962"/>
                  </a:lnTo>
                  <a:lnTo>
                    <a:pt x="96" y="3962"/>
                  </a:lnTo>
                  <a:lnTo>
                    <a:pt x="96" y="2447"/>
                  </a:lnTo>
                  <a:lnTo>
                    <a:pt x="405" y="2447"/>
                  </a:lnTo>
                  <a:lnTo>
                    <a:pt x="421" y="2447"/>
                  </a:lnTo>
                  <a:lnTo>
                    <a:pt x="466" y="2449"/>
                  </a:lnTo>
                  <a:lnTo>
                    <a:pt x="529" y="2458"/>
                  </a:lnTo>
                  <a:lnTo>
                    <a:pt x="602" y="2477"/>
                  </a:lnTo>
                  <a:lnTo>
                    <a:pt x="678" y="2513"/>
                  </a:lnTo>
                  <a:lnTo>
                    <a:pt x="748" y="2573"/>
                  </a:lnTo>
                  <a:lnTo>
                    <a:pt x="804" y="2656"/>
                  </a:lnTo>
                  <a:lnTo>
                    <a:pt x="828" y="2719"/>
                  </a:lnTo>
                  <a:lnTo>
                    <a:pt x="842" y="2790"/>
                  </a:lnTo>
                  <a:lnTo>
                    <a:pt x="850" y="2898"/>
                  </a:lnTo>
                  <a:lnTo>
                    <a:pt x="850" y="3002"/>
                  </a:lnTo>
                  <a:lnTo>
                    <a:pt x="842" y="3098"/>
                  </a:lnTo>
                  <a:lnTo>
                    <a:pt x="828" y="3171"/>
                  </a:lnTo>
                  <a:lnTo>
                    <a:pt x="817" y="3206"/>
                  </a:lnTo>
                  <a:lnTo>
                    <a:pt x="805" y="3228"/>
                  </a:lnTo>
                  <a:lnTo>
                    <a:pt x="779" y="3270"/>
                  </a:lnTo>
                  <a:lnTo>
                    <a:pt x="736" y="3322"/>
                  </a:lnTo>
                  <a:lnTo>
                    <a:pt x="675" y="3373"/>
                  </a:lnTo>
                  <a:lnTo>
                    <a:pt x="597" y="3408"/>
                  </a:lnTo>
                  <a:lnTo>
                    <a:pt x="496" y="3418"/>
                  </a:lnTo>
                  <a:lnTo>
                    <a:pt x="470" y="3418"/>
                  </a:lnTo>
                  <a:lnTo>
                    <a:pt x="421" y="3416"/>
                  </a:lnTo>
                  <a:lnTo>
                    <a:pt x="395" y="3414"/>
                  </a:lnTo>
                  <a:lnTo>
                    <a:pt x="395" y="3948"/>
                  </a:lnTo>
                  <a:lnTo>
                    <a:pt x="1117" y="3948"/>
                  </a:lnTo>
                  <a:lnTo>
                    <a:pt x="1104" y="3945"/>
                  </a:lnTo>
                  <a:lnTo>
                    <a:pt x="1073" y="3931"/>
                  </a:lnTo>
                  <a:lnTo>
                    <a:pt x="1031" y="3907"/>
                  </a:lnTo>
                  <a:lnTo>
                    <a:pt x="984" y="3867"/>
                  </a:lnTo>
                  <a:lnTo>
                    <a:pt x="943" y="3808"/>
                  </a:lnTo>
                  <a:lnTo>
                    <a:pt x="911" y="3728"/>
                  </a:lnTo>
                  <a:lnTo>
                    <a:pt x="899" y="3623"/>
                  </a:lnTo>
                  <a:lnTo>
                    <a:pt x="899" y="3609"/>
                  </a:lnTo>
                  <a:lnTo>
                    <a:pt x="899" y="3569"/>
                  </a:lnTo>
                  <a:lnTo>
                    <a:pt x="899" y="3507"/>
                  </a:lnTo>
                  <a:lnTo>
                    <a:pt x="899" y="3428"/>
                  </a:lnTo>
                  <a:lnTo>
                    <a:pt x="899" y="3340"/>
                  </a:lnTo>
                  <a:lnTo>
                    <a:pt x="899" y="3242"/>
                  </a:lnTo>
                  <a:lnTo>
                    <a:pt x="899" y="3143"/>
                  </a:lnTo>
                  <a:lnTo>
                    <a:pt x="899" y="3046"/>
                  </a:lnTo>
                  <a:lnTo>
                    <a:pt x="899" y="2957"/>
                  </a:lnTo>
                  <a:lnTo>
                    <a:pt x="899" y="2879"/>
                  </a:lnTo>
                  <a:lnTo>
                    <a:pt x="899" y="2816"/>
                  </a:lnTo>
                  <a:lnTo>
                    <a:pt x="899" y="2776"/>
                  </a:lnTo>
                  <a:lnTo>
                    <a:pt x="899" y="2762"/>
                  </a:lnTo>
                  <a:lnTo>
                    <a:pt x="897" y="2747"/>
                  </a:lnTo>
                  <a:lnTo>
                    <a:pt x="899" y="2708"/>
                  </a:lnTo>
                  <a:lnTo>
                    <a:pt x="908" y="2654"/>
                  </a:lnTo>
                  <a:lnTo>
                    <a:pt x="929" y="2593"/>
                  </a:lnTo>
                  <a:lnTo>
                    <a:pt x="969" y="2531"/>
                  </a:lnTo>
                  <a:lnTo>
                    <a:pt x="1033" y="2477"/>
                  </a:lnTo>
                  <a:lnTo>
                    <a:pt x="1127" y="2440"/>
                  </a:lnTo>
                  <a:lnTo>
                    <a:pt x="1139" y="2437"/>
                  </a:lnTo>
                  <a:lnTo>
                    <a:pt x="1172" y="2428"/>
                  </a:lnTo>
                  <a:lnTo>
                    <a:pt x="1223" y="2421"/>
                  </a:lnTo>
                  <a:lnTo>
                    <a:pt x="1285" y="2418"/>
                  </a:lnTo>
                  <a:lnTo>
                    <a:pt x="1355" y="2425"/>
                  </a:lnTo>
                  <a:lnTo>
                    <a:pt x="1426" y="2446"/>
                  </a:lnTo>
                  <a:lnTo>
                    <a:pt x="1494" y="2486"/>
                  </a:lnTo>
                  <a:lnTo>
                    <a:pt x="1557" y="2550"/>
                  </a:lnTo>
                  <a:lnTo>
                    <a:pt x="1565" y="2559"/>
                  </a:lnTo>
                  <a:lnTo>
                    <a:pt x="1588" y="2592"/>
                  </a:lnTo>
                  <a:lnTo>
                    <a:pt x="1612" y="2654"/>
                  </a:lnTo>
                  <a:lnTo>
                    <a:pt x="1628" y="2755"/>
                  </a:lnTo>
                  <a:lnTo>
                    <a:pt x="1624" y="2898"/>
                  </a:lnTo>
                  <a:lnTo>
                    <a:pt x="1550" y="2898"/>
                  </a:lnTo>
                  <a:lnTo>
                    <a:pt x="1411" y="2896"/>
                  </a:lnTo>
                  <a:lnTo>
                    <a:pt x="1334" y="2894"/>
                  </a:lnTo>
                  <a:lnTo>
                    <a:pt x="1334" y="2755"/>
                  </a:lnTo>
                  <a:lnTo>
                    <a:pt x="1331" y="2738"/>
                  </a:lnTo>
                  <a:lnTo>
                    <a:pt x="1311" y="2705"/>
                  </a:lnTo>
                  <a:lnTo>
                    <a:pt x="1266" y="2687"/>
                  </a:lnTo>
                  <a:lnTo>
                    <a:pt x="1221" y="2701"/>
                  </a:lnTo>
                  <a:lnTo>
                    <a:pt x="1204" y="2733"/>
                  </a:lnTo>
                  <a:lnTo>
                    <a:pt x="1200" y="2776"/>
                  </a:lnTo>
                  <a:lnTo>
                    <a:pt x="1200" y="2792"/>
                  </a:lnTo>
                  <a:lnTo>
                    <a:pt x="1200" y="2839"/>
                  </a:lnTo>
                  <a:lnTo>
                    <a:pt x="1200" y="2908"/>
                  </a:lnTo>
                  <a:lnTo>
                    <a:pt x="1200" y="2997"/>
                  </a:lnTo>
                  <a:lnTo>
                    <a:pt x="1200" y="3096"/>
                  </a:lnTo>
                  <a:lnTo>
                    <a:pt x="1200" y="3202"/>
                  </a:lnTo>
                  <a:lnTo>
                    <a:pt x="1200" y="3308"/>
                  </a:lnTo>
                  <a:lnTo>
                    <a:pt x="1200" y="3409"/>
                  </a:lnTo>
                  <a:lnTo>
                    <a:pt x="1200" y="3496"/>
                  </a:lnTo>
                  <a:lnTo>
                    <a:pt x="1200" y="3568"/>
                  </a:lnTo>
                  <a:lnTo>
                    <a:pt x="1200" y="3613"/>
                  </a:lnTo>
                  <a:lnTo>
                    <a:pt x="1200" y="3630"/>
                  </a:lnTo>
                  <a:lnTo>
                    <a:pt x="1202" y="3649"/>
                  </a:lnTo>
                  <a:lnTo>
                    <a:pt x="1216" y="3688"/>
                  </a:lnTo>
                  <a:lnTo>
                    <a:pt x="1263" y="3717"/>
                  </a:lnTo>
                  <a:lnTo>
                    <a:pt x="1303" y="3714"/>
                  </a:lnTo>
                  <a:lnTo>
                    <a:pt x="1336" y="3688"/>
                  </a:lnTo>
                  <a:lnTo>
                    <a:pt x="1350" y="3642"/>
                  </a:lnTo>
                  <a:lnTo>
                    <a:pt x="1350" y="3576"/>
                  </a:lnTo>
                  <a:lnTo>
                    <a:pt x="1350" y="3456"/>
                  </a:lnTo>
                  <a:lnTo>
                    <a:pt x="1350" y="3390"/>
                  </a:lnTo>
                  <a:lnTo>
                    <a:pt x="1268" y="3390"/>
                  </a:lnTo>
                  <a:lnTo>
                    <a:pt x="1268" y="3127"/>
                  </a:lnTo>
                  <a:lnTo>
                    <a:pt x="1638" y="3127"/>
                  </a:lnTo>
                  <a:lnTo>
                    <a:pt x="1638" y="3482"/>
                  </a:lnTo>
                  <a:lnTo>
                    <a:pt x="1649" y="3482"/>
                  </a:lnTo>
                  <a:lnTo>
                    <a:pt x="1638" y="3482"/>
                  </a:lnTo>
                  <a:close/>
                </a:path>
              </a:pathLst>
            </a:custGeom>
            <a:solidFill>
              <a:srgbClr val="0079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38" name="Freeform 15"/>
            <p:cNvSpPr>
              <a:spLocks noEditPoints="1"/>
            </p:cNvSpPr>
            <p:nvPr/>
          </p:nvSpPr>
          <p:spPr bwMode="auto">
            <a:xfrm>
              <a:off x="19993" y="1044"/>
              <a:ext cx="233" cy="233"/>
            </a:xfrm>
            <a:custGeom>
              <a:avLst/>
              <a:gdLst>
                <a:gd name="T0" fmla="*/ 1 w 461"/>
                <a:gd name="T1" fmla="*/ 1 h 460"/>
                <a:gd name="T2" fmla="*/ 1 w 461"/>
                <a:gd name="T3" fmla="*/ 1 h 460"/>
                <a:gd name="T4" fmla="*/ 1 w 461"/>
                <a:gd name="T5" fmla="*/ 1 h 460"/>
                <a:gd name="T6" fmla="*/ 1 w 461"/>
                <a:gd name="T7" fmla="*/ 1 h 460"/>
                <a:gd name="T8" fmla="*/ 1 w 461"/>
                <a:gd name="T9" fmla="*/ 1 h 460"/>
                <a:gd name="T10" fmla="*/ 1 w 461"/>
                <a:gd name="T11" fmla="*/ 1 h 460"/>
                <a:gd name="T12" fmla="*/ 1 w 461"/>
                <a:gd name="T13" fmla="*/ 1 h 460"/>
                <a:gd name="T14" fmla="*/ 1 w 461"/>
                <a:gd name="T15" fmla="*/ 1 h 460"/>
                <a:gd name="T16" fmla="*/ 1 w 461"/>
                <a:gd name="T17" fmla="*/ 1 h 460"/>
                <a:gd name="T18" fmla="*/ 1 w 461"/>
                <a:gd name="T19" fmla="*/ 1 h 460"/>
                <a:gd name="T20" fmla="*/ 0 w 461"/>
                <a:gd name="T21" fmla="*/ 1 h 460"/>
                <a:gd name="T22" fmla="*/ 1 w 461"/>
                <a:gd name="T23" fmla="*/ 1 h 460"/>
                <a:gd name="T24" fmla="*/ 1 w 461"/>
                <a:gd name="T25" fmla="*/ 1 h 460"/>
                <a:gd name="T26" fmla="*/ 1 w 461"/>
                <a:gd name="T27" fmla="*/ 1 h 460"/>
                <a:gd name="T28" fmla="*/ 1 w 461"/>
                <a:gd name="T29" fmla="*/ 1 h 460"/>
                <a:gd name="T30" fmla="*/ 1 w 461"/>
                <a:gd name="T31" fmla="*/ 1 h 460"/>
                <a:gd name="T32" fmla="*/ 1 w 461"/>
                <a:gd name="T33" fmla="*/ 1 h 460"/>
                <a:gd name="T34" fmla="*/ 1 w 461"/>
                <a:gd name="T35" fmla="*/ 1 h 460"/>
                <a:gd name="T36" fmla="*/ 1 w 461"/>
                <a:gd name="T37" fmla="*/ 1 h 460"/>
                <a:gd name="T38" fmla="*/ 1 w 461"/>
                <a:gd name="T39" fmla="*/ 0 h 460"/>
                <a:gd name="T40" fmla="*/ 1 w 461"/>
                <a:gd name="T41" fmla="*/ 1 h 460"/>
                <a:gd name="T42" fmla="*/ 1 w 461"/>
                <a:gd name="T43" fmla="*/ 1 h 460"/>
                <a:gd name="T44" fmla="*/ 0 w 461"/>
                <a:gd name="T45" fmla="*/ 1 h 460"/>
                <a:gd name="T46" fmla="*/ 1 w 461"/>
                <a:gd name="T47" fmla="*/ 1 h 460"/>
                <a:gd name="T48" fmla="*/ 1 w 461"/>
                <a:gd name="T49" fmla="*/ 1 h 460"/>
                <a:gd name="T50" fmla="*/ 1 w 461"/>
                <a:gd name="T51" fmla="*/ 1 h 460"/>
                <a:gd name="T52" fmla="*/ 1 w 461"/>
                <a:gd name="T53" fmla="*/ 1 h 460"/>
                <a:gd name="T54" fmla="*/ 1 w 461"/>
                <a:gd name="T55" fmla="*/ 1 h 460"/>
                <a:gd name="T56" fmla="*/ 1 w 461"/>
                <a:gd name="T57" fmla="*/ 1 h 460"/>
                <a:gd name="T58" fmla="*/ 1 w 461"/>
                <a:gd name="T59" fmla="*/ 1 h 460"/>
                <a:gd name="T60" fmla="*/ 1 w 461"/>
                <a:gd name="T61" fmla="*/ 1 h 460"/>
                <a:gd name="T62" fmla="*/ 1 w 461"/>
                <a:gd name="T63" fmla="*/ 1 h 460"/>
                <a:gd name="T64" fmla="*/ 1 w 461"/>
                <a:gd name="T65" fmla="*/ 1 h 460"/>
                <a:gd name="T66" fmla="*/ 1 w 461"/>
                <a:gd name="T67" fmla="*/ 1 h 460"/>
                <a:gd name="T68" fmla="*/ 1 w 461"/>
                <a:gd name="T69" fmla="*/ 1 h 460"/>
                <a:gd name="T70" fmla="*/ 1 w 461"/>
                <a:gd name="T71" fmla="*/ 1 h 460"/>
                <a:gd name="T72" fmla="*/ 1 w 461"/>
                <a:gd name="T73" fmla="*/ 1 h 460"/>
                <a:gd name="T74" fmla="*/ 1 w 461"/>
                <a:gd name="T75" fmla="*/ 1 h 460"/>
                <a:gd name="T76" fmla="*/ 1 w 461"/>
                <a:gd name="T77" fmla="*/ 1 h 460"/>
                <a:gd name="T78" fmla="*/ 1 w 461"/>
                <a:gd name="T79" fmla="*/ 1 h 460"/>
                <a:gd name="T80" fmla="*/ 1 w 461"/>
                <a:gd name="T81" fmla="*/ 1 h 460"/>
                <a:gd name="T82" fmla="*/ 1 w 461"/>
                <a:gd name="T83" fmla="*/ 1 h 460"/>
                <a:gd name="T84" fmla="*/ 1 w 461"/>
                <a:gd name="T85" fmla="*/ 1 h 460"/>
                <a:gd name="T86" fmla="*/ 1 w 461"/>
                <a:gd name="T87" fmla="*/ 1 h 46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61" h="460">
                  <a:moveTo>
                    <a:pt x="42" y="228"/>
                  </a:moveTo>
                  <a:lnTo>
                    <a:pt x="56" y="153"/>
                  </a:lnTo>
                  <a:lnTo>
                    <a:pt x="96" y="91"/>
                  </a:lnTo>
                  <a:lnTo>
                    <a:pt x="157" y="49"/>
                  </a:lnTo>
                  <a:lnTo>
                    <a:pt x="231" y="35"/>
                  </a:lnTo>
                  <a:lnTo>
                    <a:pt x="306" y="49"/>
                  </a:lnTo>
                  <a:lnTo>
                    <a:pt x="365" y="91"/>
                  </a:lnTo>
                  <a:lnTo>
                    <a:pt x="405" y="153"/>
                  </a:lnTo>
                  <a:lnTo>
                    <a:pt x="419" y="228"/>
                  </a:lnTo>
                  <a:lnTo>
                    <a:pt x="405" y="306"/>
                  </a:lnTo>
                  <a:lnTo>
                    <a:pt x="365" y="369"/>
                  </a:lnTo>
                  <a:lnTo>
                    <a:pt x="306" y="411"/>
                  </a:lnTo>
                  <a:lnTo>
                    <a:pt x="231" y="425"/>
                  </a:lnTo>
                  <a:lnTo>
                    <a:pt x="157" y="411"/>
                  </a:lnTo>
                  <a:lnTo>
                    <a:pt x="96" y="369"/>
                  </a:lnTo>
                  <a:lnTo>
                    <a:pt x="56" y="306"/>
                  </a:lnTo>
                  <a:lnTo>
                    <a:pt x="42" y="228"/>
                  </a:lnTo>
                  <a:close/>
                  <a:moveTo>
                    <a:pt x="0" y="228"/>
                  </a:moveTo>
                  <a:lnTo>
                    <a:pt x="12" y="303"/>
                  </a:lnTo>
                  <a:lnTo>
                    <a:pt x="45" y="367"/>
                  </a:lnTo>
                  <a:lnTo>
                    <a:pt x="96" y="416"/>
                  </a:lnTo>
                  <a:lnTo>
                    <a:pt x="158" y="447"/>
                  </a:lnTo>
                  <a:lnTo>
                    <a:pt x="231" y="460"/>
                  </a:lnTo>
                  <a:lnTo>
                    <a:pt x="303" y="447"/>
                  </a:lnTo>
                  <a:lnTo>
                    <a:pt x="367" y="416"/>
                  </a:lnTo>
                  <a:lnTo>
                    <a:pt x="416" y="367"/>
                  </a:lnTo>
                  <a:lnTo>
                    <a:pt x="449" y="303"/>
                  </a:lnTo>
                  <a:lnTo>
                    <a:pt x="461" y="228"/>
                  </a:lnTo>
                  <a:lnTo>
                    <a:pt x="449" y="155"/>
                  </a:lnTo>
                  <a:lnTo>
                    <a:pt x="416" y="93"/>
                  </a:lnTo>
                  <a:lnTo>
                    <a:pt x="367" y="44"/>
                  </a:lnTo>
                  <a:lnTo>
                    <a:pt x="303" y="12"/>
                  </a:lnTo>
                  <a:lnTo>
                    <a:pt x="231" y="0"/>
                  </a:lnTo>
                  <a:lnTo>
                    <a:pt x="158" y="12"/>
                  </a:lnTo>
                  <a:lnTo>
                    <a:pt x="96" y="44"/>
                  </a:lnTo>
                  <a:lnTo>
                    <a:pt x="45" y="93"/>
                  </a:lnTo>
                  <a:lnTo>
                    <a:pt x="12" y="155"/>
                  </a:lnTo>
                  <a:lnTo>
                    <a:pt x="0" y="228"/>
                  </a:lnTo>
                  <a:close/>
                  <a:moveTo>
                    <a:pt x="141" y="364"/>
                  </a:moveTo>
                  <a:lnTo>
                    <a:pt x="183" y="364"/>
                  </a:lnTo>
                  <a:lnTo>
                    <a:pt x="183" y="247"/>
                  </a:lnTo>
                  <a:lnTo>
                    <a:pt x="228" y="247"/>
                  </a:lnTo>
                  <a:lnTo>
                    <a:pt x="301" y="364"/>
                  </a:lnTo>
                  <a:lnTo>
                    <a:pt x="346" y="364"/>
                  </a:lnTo>
                  <a:lnTo>
                    <a:pt x="325" y="333"/>
                  </a:lnTo>
                  <a:lnTo>
                    <a:pt x="289" y="275"/>
                  </a:lnTo>
                  <a:lnTo>
                    <a:pt x="270" y="244"/>
                  </a:lnTo>
                  <a:lnTo>
                    <a:pt x="304" y="235"/>
                  </a:lnTo>
                  <a:lnTo>
                    <a:pt x="331" y="213"/>
                  </a:lnTo>
                  <a:lnTo>
                    <a:pt x="339" y="173"/>
                  </a:lnTo>
                  <a:lnTo>
                    <a:pt x="329" y="131"/>
                  </a:lnTo>
                  <a:lnTo>
                    <a:pt x="298" y="105"/>
                  </a:lnTo>
                  <a:lnTo>
                    <a:pt x="245" y="96"/>
                  </a:lnTo>
                  <a:lnTo>
                    <a:pt x="219" y="96"/>
                  </a:lnTo>
                  <a:lnTo>
                    <a:pt x="169" y="96"/>
                  </a:lnTo>
                  <a:lnTo>
                    <a:pt x="141" y="96"/>
                  </a:lnTo>
                  <a:lnTo>
                    <a:pt x="141" y="364"/>
                  </a:lnTo>
                  <a:close/>
                  <a:moveTo>
                    <a:pt x="183" y="129"/>
                  </a:moveTo>
                  <a:lnTo>
                    <a:pt x="198" y="129"/>
                  </a:lnTo>
                  <a:lnTo>
                    <a:pt x="224" y="129"/>
                  </a:lnTo>
                  <a:lnTo>
                    <a:pt x="238" y="129"/>
                  </a:lnTo>
                  <a:lnTo>
                    <a:pt x="266" y="133"/>
                  </a:lnTo>
                  <a:lnTo>
                    <a:pt x="289" y="145"/>
                  </a:lnTo>
                  <a:lnTo>
                    <a:pt x="298" y="171"/>
                  </a:lnTo>
                  <a:lnTo>
                    <a:pt x="287" y="202"/>
                  </a:lnTo>
                  <a:lnTo>
                    <a:pt x="261" y="213"/>
                  </a:lnTo>
                  <a:lnTo>
                    <a:pt x="226" y="216"/>
                  </a:lnTo>
                  <a:lnTo>
                    <a:pt x="216" y="216"/>
                  </a:lnTo>
                  <a:lnTo>
                    <a:pt x="195" y="216"/>
                  </a:lnTo>
                  <a:lnTo>
                    <a:pt x="183" y="216"/>
                  </a:lnTo>
                  <a:lnTo>
                    <a:pt x="183" y="129"/>
                  </a:lnTo>
                  <a:close/>
                </a:path>
              </a:pathLst>
            </a:custGeom>
            <a:solidFill>
              <a:srgbClr val="0079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</p:grpSp>
      <p:sp>
        <p:nvSpPr>
          <p:cNvPr id="1029" name="Line 2"/>
          <p:cNvSpPr>
            <a:spLocks noChangeShapeType="1"/>
          </p:cNvSpPr>
          <p:nvPr/>
        </p:nvSpPr>
        <p:spPr bwMode="auto">
          <a:xfrm>
            <a:off x="0" y="881063"/>
            <a:ext cx="9140825" cy="0"/>
          </a:xfrm>
          <a:prstGeom prst="line">
            <a:avLst/>
          </a:prstGeom>
          <a:noFill/>
          <a:ln w="25400">
            <a:solidFill>
              <a:srgbClr val="FAA53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31" name="TextBox 31"/>
          <p:cNvSpPr txBox="1">
            <a:spLocks noChangeArrowheads="1"/>
          </p:cNvSpPr>
          <p:nvPr/>
        </p:nvSpPr>
        <p:spPr bwMode="auto">
          <a:xfrm>
            <a:off x="8486775" y="6575425"/>
            <a:ext cx="6096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 eaLnBrk="0" hangingPunct="0"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 eaLnBrk="0" hangingPunct="0"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 eaLnBrk="0" hangingPunct="0"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 eaLnBrk="0" hangingPunct="0"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r">
              <a:defRPr/>
            </a:pPr>
            <a:fld id="{56EF491F-3E1B-464C-9C2E-B7093B1D379B}" type="slidenum">
              <a:rPr lang="en-US" sz="1000" smtClean="0"/>
              <a:pPr algn="r">
                <a:defRPr/>
              </a:pPr>
              <a:t>‹#›</a:t>
            </a:fld>
            <a:endParaRPr lang="en-US" sz="1000" dirty="0"/>
          </a:p>
        </p:txBody>
      </p:sp>
      <p:sp>
        <p:nvSpPr>
          <p:cNvPr id="2" name="TextBox 1"/>
          <p:cNvSpPr txBox="1"/>
          <p:nvPr/>
        </p:nvSpPr>
        <p:spPr>
          <a:xfrm>
            <a:off x="101600" y="6575425"/>
            <a:ext cx="25654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>
                <a:solidFill>
                  <a:prstClr val="black"/>
                </a:solidFill>
              </a:rPr>
              <a:t>Draft: for discussion purposes only</a:t>
            </a:r>
          </a:p>
        </p:txBody>
      </p:sp>
    </p:spTree>
    <p:extLst>
      <p:ext uri="{BB962C8B-B14F-4D97-AF65-F5344CB8AC3E}">
        <p14:creationId xmlns:p14="http://schemas.microsoft.com/office/powerpoint/2010/main" val="3413610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</p:sldLayoutIdLst>
  <p:txStyles>
    <p:titleStyle>
      <a:lvl1pPr algn="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99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99"/>
          </a:solidFill>
          <a:latin typeface="Arial" charset="0"/>
          <a:ea typeface="ＭＳ Ｐゴシック" pitchFamily="1" charset="-128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99"/>
          </a:solidFill>
          <a:latin typeface="Arial" charset="0"/>
          <a:ea typeface="ＭＳ Ｐゴシック" pitchFamily="1" charset="-128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99"/>
          </a:solidFill>
          <a:latin typeface="Arial" charset="0"/>
          <a:ea typeface="ＭＳ Ｐゴシック" pitchFamily="1" charset="-128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99"/>
          </a:solidFill>
          <a:latin typeface="Arial" charset="0"/>
          <a:ea typeface="ＭＳ Ｐゴシック" pitchFamily="1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B7893"/>
          </a:solidFill>
          <a:latin typeface="Arial" charset="0"/>
          <a:ea typeface="ＭＳ Ｐゴシック" pitchFamily="1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B7893"/>
          </a:solidFill>
          <a:latin typeface="Arial" charset="0"/>
          <a:ea typeface="ＭＳ Ｐゴシック" pitchFamily="1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B7893"/>
          </a:solidFill>
          <a:latin typeface="Arial" charset="0"/>
          <a:ea typeface="ＭＳ Ｐゴシック" pitchFamily="1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B7893"/>
          </a:solidFill>
          <a:latin typeface="Arial" charset="0"/>
          <a:ea typeface="ＭＳ Ｐゴシック" pitchFamily="1" charset="-128"/>
        </a:defRPr>
      </a:lvl9pPr>
    </p:titleStyle>
    <p:bodyStyle>
      <a:lvl1pPr marL="342900" indent="-342900" algn="l" rtl="0" eaLnBrk="0" fontAlgn="base" hangingPunct="0">
        <a:spcBef>
          <a:spcPct val="25000"/>
        </a:spcBef>
        <a:spcAft>
          <a:spcPct val="20000"/>
        </a:spcAft>
        <a:defRPr b="1">
          <a:solidFill>
            <a:srgbClr val="333333"/>
          </a:solidFill>
          <a:latin typeface="+mn-lt"/>
          <a:ea typeface="+mn-ea"/>
          <a:cs typeface="+mn-cs"/>
        </a:defRPr>
      </a:lvl1pPr>
      <a:lvl2pPr marL="285750" indent="-171450" algn="l" rtl="0" eaLnBrk="0" fontAlgn="base" hangingPunct="0">
        <a:spcBef>
          <a:spcPct val="25000"/>
        </a:spcBef>
        <a:spcAft>
          <a:spcPct val="20000"/>
        </a:spcAft>
        <a:buClr>
          <a:srgbClr val="006699"/>
        </a:buClr>
        <a:buSzPct val="10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2pPr>
      <a:lvl3pPr marL="574675" indent="-174625" algn="l" rtl="0" eaLnBrk="0" fontAlgn="base" hangingPunct="0">
        <a:spcBef>
          <a:spcPct val="25000"/>
        </a:spcBef>
        <a:spcAft>
          <a:spcPct val="20000"/>
        </a:spcAft>
        <a:buClr>
          <a:srgbClr val="006699"/>
        </a:buClr>
        <a:buFont typeface="Symbol" pitchFamily="18" charset="2"/>
        <a:buChar char=""/>
        <a:defRPr sz="1400">
          <a:solidFill>
            <a:srgbClr val="333333"/>
          </a:solidFill>
          <a:latin typeface="+mn-lt"/>
          <a:ea typeface="+mn-ea"/>
        </a:defRPr>
      </a:lvl3pPr>
      <a:lvl4pPr marL="855663" indent="-166688" algn="l" rtl="0" eaLnBrk="0" fontAlgn="base" hangingPunct="0">
        <a:spcBef>
          <a:spcPct val="25000"/>
        </a:spcBef>
        <a:spcAft>
          <a:spcPct val="20000"/>
        </a:spcAft>
        <a:buClr>
          <a:srgbClr val="006699"/>
        </a:buClr>
        <a:buSzPct val="100000"/>
        <a:buFont typeface="Arial" pitchFamily="34" charset="0"/>
        <a:buChar char="•"/>
        <a:defRPr sz="1200">
          <a:solidFill>
            <a:srgbClr val="333333"/>
          </a:solidFill>
          <a:latin typeface="+mn-lt"/>
          <a:ea typeface="+mn-ea"/>
        </a:defRPr>
      </a:lvl4pPr>
      <a:lvl5pPr marL="1143000" indent="-173038" algn="l" rtl="0" eaLnBrk="0" fontAlgn="base" hangingPunct="0">
        <a:spcBef>
          <a:spcPct val="25000"/>
        </a:spcBef>
        <a:spcAft>
          <a:spcPct val="20000"/>
        </a:spcAft>
        <a:buClr>
          <a:srgbClr val="006699"/>
        </a:buClr>
        <a:buFont typeface="Symbol" pitchFamily="18" charset="2"/>
        <a:buChar char=""/>
        <a:defRPr sz="1000">
          <a:solidFill>
            <a:srgbClr val="333333"/>
          </a:solidFill>
          <a:latin typeface="+mn-lt"/>
          <a:ea typeface="+mn-ea"/>
        </a:defRPr>
      </a:lvl5pPr>
      <a:lvl6pPr marL="1600200" indent="-173038" algn="l" rtl="0" eaLnBrk="1" fontAlgn="base" hangingPunct="1">
        <a:spcBef>
          <a:spcPct val="25000"/>
        </a:spcBef>
        <a:spcAft>
          <a:spcPct val="20000"/>
        </a:spcAft>
        <a:buClr>
          <a:srgbClr val="999999"/>
        </a:buClr>
        <a:buFont typeface="Symbol" pitchFamily="18" charset="2"/>
        <a:buChar char=""/>
        <a:defRPr sz="1000">
          <a:solidFill>
            <a:srgbClr val="333333"/>
          </a:solidFill>
          <a:latin typeface="+mn-lt"/>
          <a:ea typeface="+mn-ea"/>
        </a:defRPr>
      </a:lvl6pPr>
      <a:lvl7pPr marL="2057400" indent="-173038" algn="l" rtl="0" eaLnBrk="1" fontAlgn="base" hangingPunct="1">
        <a:spcBef>
          <a:spcPct val="25000"/>
        </a:spcBef>
        <a:spcAft>
          <a:spcPct val="20000"/>
        </a:spcAft>
        <a:buClr>
          <a:srgbClr val="999999"/>
        </a:buClr>
        <a:buFont typeface="Symbol" pitchFamily="18" charset="2"/>
        <a:buChar char=""/>
        <a:defRPr sz="1000">
          <a:solidFill>
            <a:srgbClr val="333333"/>
          </a:solidFill>
          <a:latin typeface="+mn-lt"/>
          <a:ea typeface="+mn-ea"/>
        </a:defRPr>
      </a:lvl7pPr>
      <a:lvl8pPr marL="2514600" indent="-173038" algn="l" rtl="0" eaLnBrk="1" fontAlgn="base" hangingPunct="1">
        <a:spcBef>
          <a:spcPct val="25000"/>
        </a:spcBef>
        <a:spcAft>
          <a:spcPct val="20000"/>
        </a:spcAft>
        <a:buClr>
          <a:srgbClr val="999999"/>
        </a:buClr>
        <a:buFont typeface="Symbol" pitchFamily="18" charset="2"/>
        <a:buChar char=""/>
        <a:defRPr sz="1000">
          <a:solidFill>
            <a:srgbClr val="333333"/>
          </a:solidFill>
          <a:latin typeface="+mn-lt"/>
          <a:ea typeface="+mn-ea"/>
        </a:defRPr>
      </a:lvl8pPr>
      <a:lvl9pPr marL="2971800" indent="-173038" algn="l" rtl="0" eaLnBrk="1" fontAlgn="base" hangingPunct="1">
        <a:spcBef>
          <a:spcPct val="25000"/>
        </a:spcBef>
        <a:spcAft>
          <a:spcPct val="20000"/>
        </a:spcAft>
        <a:buClr>
          <a:srgbClr val="999999"/>
        </a:buClr>
        <a:buFont typeface="Symbol" pitchFamily="18" charset="2"/>
        <a:buChar char=""/>
        <a:defRPr sz="10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541463" y="-4763"/>
            <a:ext cx="7450137" cy="79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45711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50950"/>
            <a:ext cx="8229600" cy="4679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028" name="Group 8"/>
          <p:cNvGrpSpPr>
            <a:grpSpLocks/>
          </p:cNvGrpSpPr>
          <p:nvPr/>
        </p:nvGrpSpPr>
        <p:grpSpPr bwMode="auto">
          <a:xfrm>
            <a:off x="101600" y="104775"/>
            <a:ext cx="668338" cy="685800"/>
            <a:chOff x="18142" y="955"/>
            <a:chExt cx="2084" cy="2140"/>
          </a:xfrm>
        </p:grpSpPr>
        <p:sp>
          <p:nvSpPr>
            <p:cNvPr id="1032" name="Rectangle 9"/>
            <p:cNvSpPr>
              <a:spLocks noChangeArrowheads="1"/>
            </p:cNvSpPr>
            <p:nvPr/>
          </p:nvSpPr>
          <p:spPr bwMode="auto">
            <a:xfrm>
              <a:off x="18142" y="955"/>
              <a:ext cx="1871" cy="214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en-US" sz="1600" dirty="0">
                <a:solidFill>
                  <a:srgbClr val="333333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033" name="Freeform 10"/>
            <p:cNvSpPr>
              <a:spLocks/>
            </p:cNvSpPr>
            <p:nvPr/>
          </p:nvSpPr>
          <p:spPr bwMode="auto">
            <a:xfrm>
              <a:off x="19102" y="2392"/>
              <a:ext cx="396" cy="619"/>
            </a:xfrm>
            <a:custGeom>
              <a:avLst/>
              <a:gdLst>
                <a:gd name="T0" fmla="*/ 1 w 790"/>
                <a:gd name="T1" fmla="*/ 1 h 1238"/>
                <a:gd name="T2" fmla="*/ 0 w 790"/>
                <a:gd name="T3" fmla="*/ 1 h 1238"/>
                <a:gd name="T4" fmla="*/ 1 w 790"/>
                <a:gd name="T5" fmla="*/ 1 h 1238"/>
                <a:gd name="T6" fmla="*/ 1 w 790"/>
                <a:gd name="T7" fmla="*/ 1 h 1238"/>
                <a:gd name="T8" fmla="*/ 1 w 790"/>
                <a:gd name="T9" fmla="*/ 1 h 1238"/>
                <a:gd name="T10" fmla="*/ 1 w 790"/>
                <a:gd name="T11" fmla="*/ 1 h 1238"/>
                <a:gd name="T12" fmla="*/ 1 w 790"/>
                <a:gd name="T13" fmla="*/ 1 h 1238"/>
                <a:gd name="T14" fmla="*/ 1 w 790"/>
                <a:gd name="T15" fmla="*/ 1 h 1238"/>
                <a:gd name="T16" fmla="*/ 1 w 790"/>
                <a:gd name="T17" fmla="*/ 1 h 1238"/>
                <a:gd name="T18" fmla="*/ 1 w 790"/>
                <a:gd name="T19" fmla="*/ 1 h 1238"/>
                <a:gd name="T20" fmla="*/ 1 w 790"/>
                <a:gd name="T21" fmla="*/ 1 h 1238"/>
                <a:gd name="T22" fmla="*/ 1 w 790"/>
                <a:gd name="T23" fmla="*/ 1 h 1238"/>
                <a:gd name="T24" fmla="*/ 1 w 790"/>
                <a:gd name="T25" fmla="*/ 1 h 1238"/>
                <a:gd name="T26" fmla="*/ 1 w 790"/>
                <a:gd name="T27" fmla="*/ 1 h 1238"/>
                <a:gd name="T28" fmla="*/ 1 w 790"/>
                <a:gd name="T29" fmla="*/ 0 h 1238"/>
                <a:gd name="T30" fmla="*/ 1 w 790"/>
                <a:gd name="T31" fmla="*/ 1 h 1238"/>
                <a:gd name="T32" fmla="*/ 1 w 790"/>
                <a:gd name="T33" fmla="*/ 1 h 1238"/>
                <a:gd name="T34" fmla="*/ 1 w 790"/>
                <a:gd name="T35" fmla="*/ 1 h 1238"/>
                <a:gd name="T36" fmla="*/ 1 w 790"/>
                <a:gd name="T37" fmla="*/ 1 h 1238"/>
                <a:gd name="T38" fmla="*/ 1 w 790"/>
                <a:gd name="T39" fmla="*/ 1 h 1238"/>
                <a:gd name="T40" fmla="*/ 1 w 790"/>
                <a:gd name="T41" fmla="*/ 1 h 1238"/>
                <a:gd name="T42" fmla="*/ 1 w 790"/>
                <a:gd name="T43" fmla="*/ 1 h 1238"/>
                <a:gd name="T44" fmla="*/ 1 w 790"/>
                <a:gd name="T45" fmla="*/ 1 h 1238"/>
                <a:gd name="T46" fmla="*/ 1 w 790"/>
                <a:gd name="T47" fmla="*/ 1 h 1238"/>
                <a:gd name="T48" fmla="*/ 1 w 790"/>
                <a:gd name="T49" fmla="*/ 1 h 1238"/>
                <a:gd name="T50" fmla="*/ 1 w 790"/>
                <a:gd name="T51" fmla="*/ 1 h 1238"/>
                <a:gd name="T52" fmla="*/ 1 w 790"/>
                <a:gd name="T53" fmla="*/ 1 h 1238"/>
                <a:gd name="T54" fmla="*/ 1 w 790"/>
                <a:gd name="T55" fmla="*/ 1 h 1238"/>
                <a:gd name="T56" fmla="*/ 1 w 790"/>
                <a:gd name="T57" fmla="*/ 1 h 1238"/>
                <a:gd name="T58" fmla="*/ 1 w 790"/>
                <a:gd name="T59" fmla="*/ 1 h 1238"/>
                <a:gd name="T60" fmla="*/ 1 w 790"/>
                <a:gd name="T61" fmla="*/ 1 h 1238"/>
                <a:gd name="T62" fmla="*/ 1 w 790"/>
                <a:gd name="T63" fmla="*/ 1 h 1238"/>
                <a:gd name="T64" fmla="*/ 1 w 790"/>
                <a:gd name="T65" fmla="*/ 1 h 1238"/>
                <a:gd name="T66" fmla="*/ 1 w 790"/>
                <a:gd name="T67" fmla="*/ 1 h 1238"/>
                <a:gd name="T68" fmla="*/ 1 w 790"/>
                <a:gd name="T69" fmla="*/ 1 h 1238"/>
                <a:gd name="T70" fmla="*/ 1 w 790"/>
                <a:gd name="T71" fmla="*/ 1 h 1238"/>
                <a:gd name="T72" fmla="*/ 1 w 790"/>
                <a:gd name="T73" fmla="*/ 1 h 1238"/>
                <a:gd name="T74" fmla="*/ 1 w 790"/>
                <a:gd name="T75" fmla="*/ 1 h 1238"/>
                <a:gd name="T76" fmla="*/ 1 w 790"/>
                <a:gd name="T77" fmla="*/ 1 h 1238"/>
                <a:gd name="T78" fmla="*/ 1 w 790"/>
                <a:gd name="T79" fmla="*/ 1 h 1238"/>
                <a:gd name="T80" fmla="*/ 1 w 790"/>
                <a:gd name="T81" fmla="*/ 1 h 1238"/>
                <a:gd name="T82" fmla="*/ 1 w 790"/>
                <a:gd name="T83" fmla="*/ 1 h 1238"/>
                <a:gd name="T84" fmla="*/ 1 w 790"/>
                <a:gd name="T85" fmla="*/ 1 h 1238"/>
                <a:gd name="T86" fmla="*/ 1 w 790"/>
                <a:gd name="T87" fmla="*/ 1 h 123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790" h="1238">
                  <a:moveTo>
                    <a:pt x="78" y="1113"/>
                  </a:moveTo>
                  <a:lnTo>
                    <a:pt x="31" y="1021"/>
                  </a:lnTo>
                  <a:lnTo>
                    <a:pt x="7" y="937"/>
                  </a:lnTo>
                  <a:lnTo>
                    <a:pt x="0" y="861"/>
                  </a:lnTo>
                  <a:lnTo>
                    <a:pt x="5" y="794"/>
                  </a:lnTo>
                  <a:lnTo>
                    <a:pt x="23" y="737"/>
                  </a:lnTo>
                  <a:lnTo>
                    <a:pt x="44" y="690"/>
                  </a:lnTo>
                  <a:lnTo>
                    <a:pt x="68" y="652"/>
                  </a:lnTo>
                  <a:lnTo>
                    <a:pt x="91" y="624"/>
                  </a:lnTo>
                  <a:lnTo>
                    <a:pt x="106" y="607"/>
                  </a:lnTo>
                  <a:lnTo>
                    <a:pt x="113" y="601"/>
                  </a:lnTo>
                  <a:lnTo>
                    <a:pt x="134" y="581"/>
                  </a:lnTo>
                  <a:lnTo>
                    <a:pt x="174" y="540"/>
                  </a:lnTo>
                  <a:lnTo>
                    <a:pt x="195" y="520"/>
                  </a:lnTo>
                  <a:lnTo>
                    <a:pt x="143" y="426"/>
                  </a:lnTo>
                  <a:lnTo>
                    <a:pt x="115" y="342"/>
                  </a:lnTo>
                  <a:lnTo>
                    <a:pt x="106" y="271"/>
                  </a:lnTo>
                  <a:lnTo>
                    <a:pt x="111" y="208"/>
                  </a:lnTo>
                  <a:lnTo>
                    <a:pt x="129" y="153"/>
                  </a:lnTo>
                  <a:lnTo>
                    <a:pt x="195" y="64"/>
                  </a:lnTo>
                  <a:lnTo>
                    <a:pt x="275" y="19"/>
                  </a:lnTo>
                  <a:lnTo>
                    <a:pt x="311" y="7"/>
                  </a:lnTo>
                  <a:lnTo>
                    <a:pt x="346" y="1"/>
                  </a:lnTo>
                  <a:lnTo>
                    <a:pt x="428" y="0"/>
                  </a:lnTo>
                  <a:lnTo>
                    <a:pt x="529" y="17"/>
                  </a:lnTo>
                  <a:lnTo>
                    <a:pt x="623" y="73"/>
                  </a:lnTo>
                  <a:lnTo>
                    <a:pt x="640" y="88"/>
                  </a:lnTo>
                  <a:lnTo>
                    <a:pt x="673" y="149"/>
                  </a:lnTo>
                  <a:lnTo>
                    <a:pt x="694" y="276"/>
                  </a:lnTo>
                  <a:lnTo>
                    <a:pt x="694" y="297"/>
                  </a:lnTo>
                  <a:lnTo>
                    <a:pt x="694" y="332"/>
                  </a:lnTo>
                  <a:lnTo>
                    <a:pt x="694" y="353"/>
                  </a:lnTo>
                  <a:lnTo>
                    <a:pt x="463" y="353"/>
                  </a:lnTo>
                  <a:lnTo>
                    <a:pt x="463" y="328"/>
                  </a:lnTo>
                  <a:lnTo>
                    <a:pt x="463" y="283"/>
                  </a:lnTo>
                  <a:lnTo>
                    <a:pt x="463" y="260"/>
                  </a:lnTo>
                  <a:lnTo>
                    <a:pt x="444" y="217"/>
                  </a:lnTo>
                  <a:lnTo>
                    <a:pt x="414" y="201"/>
                  </a:lnTo>
                  <a:lnTo>
                    <a:pt x="398" y="198"/>
                  </a:lnTo>
                  <a:lnTo>
                    <a:pt x="355" y="205"/>
                  </a:lnTo>
                  <a:lnTo>
                    <a:pt x="331" y="234"/>
                  </a:lnTo>
                  <a:lnTo>
                    <a:pt x="324" y="274"/>
                  </a:lnTo>
                  <a:lnTo>
                    <a:pt x="322" y="283"/>
                  </a:lnTo>
                  <a:lnTo>
                    <a:pt x="327" y="314"/>
                  </a:lnTo>
                  <a:lnTo>
                    <a:pt x="358" y="374"/>
                  </a:lnTo>
                  <a:lnTo>
                    <a:pt x="400" y="438"/>
                  </a:lnTo>
                  <a:lnTo>
                    <a:pt x="458" y="521"/>
                  </a:lnTo>
                  <a:lnTo>
                    <a:pt x="518" y="607"/>
                  </a:lnTo>
                  <a:lnTo>
                    <a:pt x="565" y="671"/>
                  </a:lnTo>
                  <a:lnTo>
                    <a:pt x="584" y="697"/>
                  </a:lnTo>
                  <a:lnTo>
                    <a:pt x="584" y="534"/>
                  </a:lnTo>
                  <a:lnTo>
                    <a:pt x="786" y="534"/>
                  </a:lnTo>
                  <a:lnTo>
                    <a:pt x="786" y="554"/>
                  </a:lnTo>
                  <a:lnTo>
                    <a:pt x="786" y="608"/>
                  </a:lnTo>
                  <a:lnTo>
                    <a:pt x="786" y="690"/>
                  </a:lnTo>
                  <a:lnTo>
                    <a:pt x="786" y="786"/>
                  </a:lnTo>
                  <a:lnTo>
                    <a:pt x="786" y="890"/>
                  </a:lnTo>
                  <a:lnTo>
                    <a:pt x="786" y="991"/>
                  </a:lnTo>
                  <a:lnTo>
                    <a:pt x="786" y="1080"/>
                  </a:lnTo>
                  <a:lnTo>
                    <a:pt x="788" y="1148"/>
                  </a:lnTo>
                  <a:lnTo>
                    <a:pt x="788" y="1184"/>
                  </a:lnTo>
                  <a:lnTo>
                    <a:pt x="790" y="1201"/>
                  </a:lnTo>
                  <a:lnTo>
                    <a:pt x="776" y="1229"/>
                  </a:lnTo>
                  <a:lnTo>
                    <a:pt x="722" y="1238"/>
                  </a:lnTo>
                  <a:lnTo>
                    <a:pt x="666" y="1238"/>
                  </a:lnTo>
                  <a:lnTo>
                    <a:pt x="544" y="1238"/>
                  </a:lnTo>
                  <a:lnTo>
                    <a:pt x="423" y="1238"/>
                  </a:lnTo>
                  <a:lnTo>
                    <a:pt x="369" y="1238"/>
                  </a:lnTo>
                  <a:lnTo>
                    <a:pt x="78" y="1113"/>
                  </a:lnTo>
                  <a:close/>
                </a:path>
              </a:pathLst>
            </a:custGeom>
            <a:solidFill>
              <a:srgbClr val="FFA9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34" name="Freeform 11"/>
            <p:cNvSpPr>
              <a:spLocks/>
            </p:cNvSpPr>
            <p:nvPr/>
          </p:nvSpPr>
          <p:spPr bwMode="auto">
            <a:xfrm>
              <a:off x="19221" y="2738"/>
              <a:ext cx="168" cy="173"/>
            </a:xfrm>
            <a:custGeom>
              <a:avLst/>
              <a:gdLst>
                <a:gd name="T0" fmla="*/ 1 w 336"/>
                <a:gd name="T1" fmla="*/ 1 h 343"/>
                <a:gd name="T2" fmla="*/ 1 w 336"/>
                <a:gd name="T3" fmla="*/ 1 h 343"/>
                <a:gd name="T4" fmla="*/ 1 w 336"/>
                <a:gd name="T5" fmla="*/ 1 h 343"/>
                <a:gd name="T6" fmla="*/ 1 w 336"/>
                <a:gd name="T7" fmla="*/ 1 h 343"/>
                <a:gd name="T8" fmla="*/ 1 w 336"/>
                <a:gd name="T9" fmla="*/ 1 h 343"/>
                <a:gd name="T10" fmla="*/ 1 w 336"/>
                <a:gd name="T11" fmla="*/ 1 h 343"/>
                <a:gd name="T12" fmla="*/ 1 w 336"/>
                <a:gd name="T13" fmla="*/ 1 h 343"/>
                <a:gd name="T14" fmla="*/ 1 w 336"/>
                <a:gd name="T15" fmla="*/ 0 h 343"/>
                <a:gd name="T16" fmla="*/ 1 w 336"/>
                <a:gd name="T17" fmla="*/ 0 h 343"/>
                <a:gd name="T18" fmla="*/ 1 w 336"/>
                <a:gd name="T19" fmla="*/ 1 h 343"/>
                <a:gd name="T20" fmla="*/ 1 w 336"/>
                <a:gd name="T21" fmla="*/ 1 h 343"/>
                <a:gd name="T22" fmla="*/ 0 w 336"/>
                <a:gd name="T23" fmla="*/ 1 h 343"/>
                <a:gd name="T24" fmla="*/ 1 w 336"/>
                <a:gd name="T25" fmla="*/ 1 h 343"/>
                <a:gd name="T26" fmla="*/ 1 w 336"/>
                <a:gd name="T27" fmla="*/ 1 h 343"/>
                <a:gd name="T28" fmla="*/ 1 w 336"/>
                <a:gd name="T29" fmla="*/ 1 h 343"/>
                <a:gd name="T30" fmla="*/ 1 w 336"/>
                <a:gd name="T31" fmla="*/ 1 h 343"/>
                <a:gd name="T32" fmla="*/ 1 w 336"/>
                <a:gd name="T33" fmla="*/ 1 h 343"/>
                <a:gd name="T34" fmla="*/ 1 w 336"/>
                <a:gd name="T35" fmla="*/ 1 h 343"/>
                <a:gd name="T36" fmla="*/ 1 w 336"/>
                <a:gd name="T37" fmla="*/ 1 h 343"/>
                <a:gd name="T38" fmla="*/ 1 w 336"/>
                <a:gd name="T39" fmla="*/ 1 h 343"/>
                <a:gd name="T40" fmla="*/ 1 w 336"/>
                <a:gd name="T41" fmla="*/ 1 h 343"/>
                <a:gd name="T42" fmla="*/ 1 w 336"/>
                <a:gd name="T43" fmla="*/ 1 h 34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336" h="343">
                  <a:moveTo>
                    <a:pt x="333" y="343"/>
                  </a:moveTo>
                  <a:lnTo>
                    <a:pt x="336" y="325"/>
                  </a:lnTo>
                  <a:lnTo>
                    <a:pt x="308" y="292"/>
                  </a:lnTo>
                  <a:lnTo>
                    <a:pt x="239" y="211"/>
                  </a:lnTo>
                  <a:lnTo>
                    <a:pt x="157" y="115"/>
                  </a:lnTo>
                  <a:lnTo>
                    <a:pt x="89" y="35"/>
                  </a:lnTo>
                  <a:lnTo>
                    <a:pt x="60" y="0"/>
                  </a:lnTo>
                  <a:lnTo>
                    <a:pt x="30" y="37"/>
                  </a:lnTo>
                  <a:lnTo>
                    <a:pt x="4" y="104"/>
                  </a:lnTo>
                  <a:lnTo>
                    <a:pt x="0" y="191"/>
                  </a:lnTo>
                  <a:lnTo>
                    <a:pt x="39" y="285"/>
                  </a:lnTo>
                  <a:lnTo>
                    <a:pt x="60" y="303"/>
                  </a:lnTo>
                  <a:lnTo>
                    <a:pt x="119" y="332"/>
                  </a:lnTo>
                  <a:lnTo>
                    <a:pt x="211" y="343"/>
                  </a:lnTo>
                  <a:lnTo>
                    <a:pt x="242" y="343"/>
                  </a:lnTo>
                  <a:lnTo>
                    <a:pt x="301" y="343"/>
                  </a:lnTo>
                  <a:lnTo>
                    <a:pt x="333" y="34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35" name="Freeform 12"/>
            <p:cNvSpPr>
              <a:spLocks/>
            </p:cNvSpPr>
            <p:nvPr/>
          </p:nvSpPr>
          <p:spPr bwMode="auto">
            <a:xfrm>
              <a:off x="19538" y="1039"/>
              <a:ext cx="391" cy="1977"/>
            </a:xfrm>
            <a:custGeom>
              <a:avLst/>
              <a:gdLst>
                <a:gd name="T0" fmla="*/ 0 w 785"/>
                <a:gd name="T1" fmla="*/ 0 h 3959"/>
                <a:gd name="T2" fmla="*/ 0 w 785"/>
                <a:gd name="T3" fmla="*/ 0 h 3959"/>
                <a:gd name="T4" fmla="*/ 0 w 785"/>
                <a:gd name="T5" fmla="*/ 0 h 3959"/>
                <a:gd name="T6" fmla="*/ 0 w 785"/>
                <a:gd name="T7" fmla="*/ 0 h 3959"/>
                <a:gd name="T8" fmla="*/ 0 w 785"/>
                <a:gd name="T9" fmla="*/ 0 h 3959"/>
                <a:gd name="T10" fmla="*/ 0 w 785"/>
                <a:gd name="T11" fmla="*/ 0 h 3959"/>
                <a:gd name="T12" fmla="*/ 0 w 785"/>
                <a:gd name="T13" fmla="*/ 0 h 3959"/>
                <a:gd name="T14" fmla="*/ 0 w 785"/>
                <a:gd name="T15" fmla="*/ 0 h 3959"/>
                <a:gd name="T16" fmla="*/ 0 w 785"/>
                <a:gd name="T17" fmla="*/ 0 h 3959"/>
                <a:gd name="T18" fmla="*/ 0 w 785"/>
                <a:gd name="T19" fmla="*/ 0 h 3959"/>
                <a:gd name="T20" fmla="*/ 0 w 785"/>
                <a:gd name="T21" fmla="*/ 0 h 3959"/>
                <a:gd name="T22" fmla="*/ 0 w 785"/>
                <a:gd name="T23" fmla="*/ 0 h 3959"/>
                <a:gd name="T24" fmla="*/ 0 w 785"/>
                <a:gd name="T25" fmla="*/ 0 h 3959"/>
                <a:gd name="T26" fmla="*/ 0 w 785"/>
                <a:gd name="T27" fmla="*/ 0 h 3959"/>
                <a:gd name="T28" fmla="*/ 0 w 785"/>
                <a:gd name="T29" fmla="*/ 0 h 3959"/>
                <a:gd name="T30" fmla="*/ 0 w 785"/>
                <a:gd name="T31" fmla="*/ 0 h 3959"/>
                <a:gd name="T32" fmla="*/ 0 w 785"/>
                <a:gd name="T33" fmla="*/ 0 h 39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785" h="3959">
                  <a:moveTo>
                    <a:pt x="0" y="0"/>
                  </a:moveTo>
                  <a:lnTo>
                    <a:pt x="0" y="3959"/>
                  </a:lnTo>
                  <a:lnTo>
                    <a:pt x="49" y="3959"/>
                  </a:lnTo>
                  <a:lnTo>
                    <a:pt x="49" y="2454"/>
                  </a:lnTo>
                  <a:lnTo>
                    <a:pt x="696" y="2454"/>
                  </a:lnTo>
                  <a:lnTo>
                    <a:pt x="696" y="2720"/>
                  </a:lnTo>
                  <a:lnTo>
                    <a:pt x="369" y="2720"/>
                  </a:lnTo>
                  <a:lnTo>
                    <a:pt x="369" y="3056"/>
                  </a:lnTo>
                  <a:lnTo>
                    <a:pt x="696" y="3056"/>
                  </a:lnTo>
                  <a:lnTo>
                    <a:pt x="696" y="3322"/>
                  </a:lnTo>
                  <a:lnTo>
                    <a:pt x="369" y="3322"/>
                  </a:lnTo>
                  <a:lnTo>
                    <a:pt x="369" y="3684"/>
                  </a:lnTo>
                  <a:lnTo>
                    <a:pt x="696" y="3684"/>
                  </a:lnTo>
                  <a:lnTo>
                    <a:pt x="696" y="3945"/>
                  </a:lnTo>
                  <a:lnTo>
                    <a:pt x="785" y="3945"/>
                  </a:lnTo>
                  <a:lnTo>
                    <a:pt x="78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9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36" name="Freeform 13"/>
            <p:cNvSpPr>
              <a:spLocks/>
            </p:cNvSpPr>
            <p:nvPr/>
          </p:nvSpPr>
          <p:spPr bwMode="auto">
            <a:xfrm>
              <a:off x="18424" y="2397"/>
              <a:ext cx="74" cy="218"/>
            </a:xfrm>
            <a:custGeom>
              <a:avLst/>
              <a:gdLst>
                <a:gd name="T0" fmla="*/ 0 w 152"/>
                <a:gd name="T1" fmla="*/ 0 h 435"/>
                <a:gd name="T2" fmla="*/ 0 w 152"/>
                <a:gd name="T3" fmla="*/ 1 h 435"/>
                <a:gd name="T4" fmla="*/ 0 w 152"/>
                <a:gd name="T5" fmla="*/ 1 h 435"/>
                <a:gd name="T6" fmla="*/ 0 w 152"/>
                <a:gd name="T7" fmla="*/ 1 h 435"/>
                <a:gd name="T8" fmla="*/ 0 w 152"/>
                <a:gd name="T9" fmla="*/ 1 h 435"/>
                <a:gd name="T10" fmla="*/ 0 w 152"/>
                <a:gd name="T11" fmla="*/ 1 h 435"/>
                <a:gd name="T12" fmla="*/ 0 w 152"/>
                <a:gd name="T13" fmla="*/ 1 h 435"/>
                <a:gd name="T14" fmla="*/ 0 w 152"/>
                <a:gd name="T15" fmla="*/ 1 h 435"/>
                <a:gd name="T16" fmla="*/ 0 w 152"/>
                <a:gd name="T17" fmla="*/ 1 h 435"/>
                <a:gd name="T18" fmla="*/ 0 w 152"/>
                <a:gd name="T19" fmla="*/ 1 h 435"/>
                <a:gd name="T20" fmla="*/ 0 w 152"/>
                <a:gd name="T21" fmla="*/ 1 h 435"/>
                <a:gd name="T22" fmla="*/ 0 w 152"/>
                <a:gd name="T23" fmla="*/ 1 h 435"/>
                <a:gd name="T24" fmla="*/ 0 w 152"/>
                <a:gd name="T25" fmla="*/ 1 h 435"/>
                <a:gd name="T26" fmla="*/ 0 w 152"/>
                <a:gd name="T27" fmla="*/ 1 h 435"/>
                <a:gd name="T28" fmla="*/ 0 w 152"/>
                <a:gd name="T29" fmla="*/ 1 h 435"/>
                <a:gd name="T30" fmla="*/ 0 w 152"/>
                <a:gd name="T31" fmla="*/ 1 h 435"/>
                <a:gd name="T32" fmla="*/ 0 w 152"/>
                <a:gd name="T33" fmla="*/ 1 h 435"/>
                <a:gd name="T34" fmla="*/ 0 w 152"/>
                <a:gd name="T35" fmla="*/ 1 h 435"/>
                <a:gd name="T36" fmla="*/ 0 w 152"/>
                <a:gd name="T37" fmla="*/ 0 h 435"/>
                <a:gd name="T38" fmla="*/ 0 w 152"/>
                <a:gd name="T39" fmla="*/ 0 h 43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2" h="435">
                  <a:moveTo>
                    <a:pt x="0" y="0"/>
                  </a:moveTo>
                  <a:lnTo>
                    <a:pt x="0" y="34"/>
                  </a:lnTo>
                  <a:lnTo>
                    <a:pt x="0" y="114"/>
                  </a:lnTo>
                  <a:lnTo>
                    <a:pt x="0" y="218"/>
                  </a:lnTo>
                  <a:lnTo>
                    <a:pt x="0" y="322"/>
                  </a:lnTo>
                  <a:lnTo>
                    <a:pt x="0" y="402"/>
                  </a:lnTo>
                  <a:lnTo>
                    <a:pt x="0" y="435"/>
                  </a:lnTo>
                  <a:lnTo>
                    <a:pt x="75" y="423"/>
                  </a:lnTo>
                  <a:lnTo>
                    <a:pt x="124" y="371"/>
                  </a:lnTo>
                  <a:lnTo>
                    <a:pt x="146" y="298"/>
                  </a:lnTo>
                  <a:lnTo>
                    <a:pt x="152" y="221"/>
                  </a:lnTo>
                  <a:lnTo>
                    <a:pt x="150" y="157"/>
                  </a:lnTo>
                  <a:lnTo>
                    <a:pt x="143" y="110"/>
                  </a:lnTo>
                  <a:lnTo>
                    <a:pt x="126" y="63"/>
                  </a:lnTo>
                  <a:lnTo>
                    <a:pt x="80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9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37" name="Freeform 14"/>
            <p:cNvSpPr>
              <a:spLocks/>
            </p:cNvSpPr>
            <p:nvPr/>
          </p:nvSpPr>
          <p:spPr bwMode="auto">
            <a:xfrm>
              <a:off x="18221" y="1039"/>
              <a:ext cx="1307" cy="1977"/>
            </a:xfrm>
            <a:custGeom>
              <a:avLst/>
              <a:gdLst>
                <a:gd name="T0" fmla="*/ 0 w 2616"/>
                <a:gd name="T1" fmla="*/ 0 h 3962"/>
                <a:gd name="T2" fmla="*/ 0 w 2616"/>
                <a:gd name="T3" fmla="*/ 0 h 3962"/>
                <a:gd name="T4" fmla="*/ 0 w 2616"/>
                <a:gd name="T5" fmla="*/ 0 h 3962"/>
                <a:gd name="T6" fmla="*/ 0 w 2616"/>
                <a:gd name="T7" fmla="*/ 0 h 3962"/>
                <a:gd name="T8" fmla="*/ 0 w 2616"/>
                <a:gd name="T9" fmla="*/ 0 h 3962"/>
                <a:gd name="T10" fmla="*/ 0 w 2616"/>
                <a:gd name="T11" fmla="*/ 0 h 3962"/>
                <a:gd name="T12" fmla="*/ 0 w 2616"/>
                <a:gd name="T13" fmla="*/ 0 h 3962"/>
                <a:gd name="T14" fmla="*/ 0 w 2616"/>
                <a:gd name="T15" fmla="*/ 0 h 3962"/>
                <a:gd name="T16" fmla="*/ 0 w 2616"/>
                <a:gd name="T17" fmla="*/ 0 h 3962"/>
                <a:gd name="T18" fmla="*/ 0 w 2616"/>
                <a:gd name="T19" fmla="*/ 0 h 3962"/>
                <a:gd name="T20" fmla="*/ 0 w 2616"/>
                <a:gd name="T21" fmla="*/ 0 h 3962"/>
                <a:gd name="T22" fmla="*/ 0 w 2616"/>
                <a:gd name="T23" fmla="*/ 0 h 3962"/>
                <a:gd name="T24" fmla="*/ 0 w 2616"/>
                <a:gd name="T25" fmla="*/ 0 h 3962"/>
                <a:gd name="T26" fmla="*/ 0 w 2616"/>
                <a:gd name="T27" fmla="*/ 0 h 3962"/>
                <a:gd name="T28" fmla="*/ 0 w 2616"/>
                <a:gd name="T29" fmla="*/ 0 h 3962"/>
                <a:gd name="T30" fmla="*/ 0 w 2616"/>
                <a:gd name="T31" fmla="*/ 0 h 3962"/>
                <a:gd name="T32" fmla="*/ 0 w 2616"/>
                <a:gd name="T33" fmla="*/ 0 h 3962"/>
                <a:gd name="T34" fmla="*/ 0 w 2616"/>
                <a:gd name="T35" fmla="*/ 0 h 3962"/>
                <a:gd name="T36" fmla="*/ 0 w 2616"/>
                <a:gd name="T37" fmla="*/ 0 h 3962"/>
                <a:gd name="T38" fmla="*/ 0 w 2616"/>
                <a:gd name="T39" fmla="*/ 0 h 3962"/>
                <a:gd name="T40" fmla="*/ 0 w 2616"/>
                <a:gd name="T41" fmla="*/ 0 h 3962"/>
                <a:gd name="T42" fmla="*/ 0 w 2616"/>
                <a:gd name="T43" fmla="*/ 0 h 3962"/>
                <a:gd name="T44" fmla="*/ 0 w 2616"/>
                <a:gd name="T45" fmla="*/ 0 h 3962"/>
                <a:gd name="T46" fmla="*/ 0 w 2616"/>
                <a:gd name="T47" fmla="*/ 0 h 3962"/>
                <a:gd name="T48" fmla="*/ 0 w 2616"/>
                <a:gd name="T49" fmla="*/ 0 h 3962"/>
                <a:gd name="T50" fmla="*/ 0 w 2616"/>
                <a:gd name="T51" fmla="*/ 0 h 3962"/>
                <a:gd name="T52" fmla="*/ 0 w 2616"/>
                <a:gd name="T53" fmla="*/ 0 h 3962"/>
                <a:gd name="T54" fmla="*/ 0 w 2616"/>
                <a:gd name="T55" fmla="*/ 0 h 3962"/>
                <a:gd name="T56" fmla="*/ 0 w 2616"/>
                <a:gd name="T57" fmla="*/ 0 h 3962"/>
                <a:gd name="T58" fmla="*/ 0 w 2616"/>
                <a:gd name="T59" fmla="*/ 0 h 3962"/>
                <a:gd name="T60" fmla="*/ 0 w 2616"/>
                <a:gd name="T61" fmla="*/ 0 h 3962"/>
                <a:gd name="T62" fmla="*/ 0 w 2616"/>
                <a:gd name="T63" fmla="*/ 0 h 3962"/>
                <a:gd name="T64" fmla="*/ 0 w 2616"/>
                <a:gd name="T65" fmla="*/ 0 h 3962"/>
                <a:gd name="T66" fmla="*/ 0 w 2616"/>
                <a:gd name="T67" fmla="*/ 0 h 3962"/>
                <a:gd name="T68" fmla="*/ 0 w 2616"/>
                <a:gd name="T69" fmla="*/ 0 h 3962"/>
                <a:gd name="T70" fmla="*/ 0 w 2616"/>
                <a:gd name="T71" fmla="*/ 0 h 3962"/>
                <a:gd name="T72" fmla="*/ 0 w 2616"/>
                <a:gd name="T73" fmla="*/ 0 h 3962"/>
                <a:gd name="T74" fmla="*/ 0 w 2616"/>
                <a:gd name="T75" fmla="*/ 0 h 3962"/>
                <a:gd name="T76" fmla="*/ 0 w 2616"/>
                <a:gd name="T77" fmla="*/ 0 h 3962"/>
                <a:gd name="T78" fmla="*/ 0 w 2616"/>
                <a:gd name="T79" fmla="*/ 0 h 3962"/>
                <a:gd name="T80" fmla="*/ 0 w 2616"/>
                <a:gd name="T81" fmla="*/ 0 h 3962"/>
                <a:gd name="T82" fmla="*/ 0 w 2616"/>
                <a:gd name="T83" fmla="*/ 0 h 3962"/>
                <a:gd name="T84" fmla="*/ 0 w 2616"/>
                <a:gd name="T85" fmla="*/ 0 h 396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616" h="3962">
                  <a:moveTo>
                    <a:pt x="1638" y="3482"/>
                  </a:moveTo>
                  <a:lnTo>
                    <a:pt x="2616" y="0"/>
                  </a:lnTo>
                  <a:lnTo>
                    <a:pt x="3" y="0"/>
                  </a:lnTo>
                  <a:lnTo>
                    <a:pt x="0" y="3962"/>
                  </a:lnTo>
                  <a:lnTo>
                    <a:pt x="96" y="3962"/>
                  </a:lnTo>
                  <a:lnTo>
                    <a:pt x="96" y="2447"/>
                  </a:lnTo>
                  <a:lnTo>
                    <a:pt x="405" y="2447"/>
                  </a:lnTo>
                  <a:lnTo>
                    <a:pt x="421" y="2447"/>
                  </a:lnTo>
                  <a:lnTo>
                    <a:pt x="466" y="2449"/>
                  </a:lnTo>
                  <a:lnTo>
                    <a:pt x="529" y="2458"/>
                  </a:lnTo>
                  <a:lnTo>
                    <a:pt x="602" y="2477"/>
                  </a:lnTo>
                  <a:lnTo>
                    <a:pt x="678" y="2513"/>
                  </a:lnTo>
                  <a:lnTo>
                    <a:pt x="748" y="2573"/>
                  </a:lnTo>
                  <a:lnTo>
                    <a:pt x="804" y="2656"/>
                  </a:lnTo>
                  <a:lnTo>
                    <a:pt x="828" y="2719"/>
                  </a:lnTo>
                  <a:lnTo>
                    <a:pt x="842" y="2790"/>
                  </a:lnTo>
                  <a:lnTo>
                    <a:pt x="850" y="2898"/>
                  </a:lnTo>
                  <a:lnTo>
                    <a:pt x="850" y="3002"/>
                  </a:lnTo>
                  <a:lnTo>
                    <a:pt x="842" y="3098"/>
                  </a:lnTo>
                  <a:lnTo>
                    <a:pt x="828" y="3171"/>
                  </a:lnTo>
                  <a:lnTo>
                    <a:pt x="817" y="3206"/>
                  </a:lnTo>
                  <a:lnTo>
                    <a:pt x="805" y="3228"/>
                  </a:lnTo>
                  <a:lnTo>
                    <a:pt x="779" y="3270"/>
                  </a:lnTo>
                  <a:lnTo>
                    <a:pt x="736" y="3322"/>
                  </a:lnTo>
                  <a:lnTo>
                    <a:pt x="675" y="3373"/>
                  </a:lnTo>
                  <a:lnTo>
                    <a:pt x="597" y="3408"/>
                  </a:lnTo>
                  <a:lnTo>
                    <a:pt x="496" y="3418"/>
                  </a:lnTo>
                  <a:lnTo>
                    <a:pt x="470" y="3418"/>
                  </a:lnTo>
                  <a:lnTo>
                    <a:pt x="421" y="3416"/>
                  </a:lnTo>
                  <a:lnTo>
                    <a:pt x="395" y="3414"/>
                  </a:lnTo>
                  <a:lnTo>
                    <a:pt x="395" y="3948"/>
                  </a:lnTo>
                  <a:lnTo>
                    <a:pt x="1117" y="3948"/>
                  </a:lnTo>
                  <a:lnTo>
                    <a:pt x="1104" y="3945"/>
                  </a:lnTo>
                  <a:lnTo>
                    <a:pt x="1073" y="3931"/>
                  </a:lnTo>
                  <a:lnTo>
                    <a:pt x="1031" y="3907"/>
                  </a:lnTo>
                  <a:lnTo>
                    <a:pt x="984" y="3867"/>
                  </a:lnTo>
                  <a:lnTo>
                    <a:pt x="943" y="3808"/>
                  </a:lnTo>
                  <a:lnTo>
                    <a:pt x="911" y="3728"/>
                  </a:lnTo>
                  <a:lnTo>
                    <a:pt x="899" y="3623"/>
                  </a:lnTo>
                  <a:lnTo>
                    <a:pt x="899" y="3609"/>
                  </a:lnTo>
                  <a:lnTo>
                    <a:pt x="899" y="3569"/>
                  </a:lnTo>
                  <a:lnTo>
                    <a:pt x="899" y="3507"/>
                  </a:lnTo>
                  <a:lnTo>
                    <a:pt x="899" y="3428"/>
                  </a:lnTo>
                  <a:lnTo>
                    <a:pt x="899" y="3340"/>
                  </a:lnTo>
                  <a:lnTo>
                    <a:pt x="899" y="3242"/>
                  </a:lnTo>
                  <a:lnTo>
                    <a:pt x="899" y="3143"/>
                  </a:lnTo>
                  <a:lnTo>
                    <a:pt x="899" y="3046"/>
                  </a:lnTo>
                  <a:lnTo>
                    <a:pt x="899" y="2957"/>
                  </a:lnTo>
                  <a:lnTo>
                    <a:pt x="899" y="2879"/>
                  </a:lnTo>
                  <a:lnTo>
                    <a:pt x="899" y="2816"/>
                  </a:lnTo>
                  <a:lnTo>
                    <a:pt x="899" y="2776"/>
                  </a:lnTo>
                  <a:lnTo>
                    <a:pt x="899" y="2762"/>
                  </a:lnTo>
                  <a:lnTo>
                    <a:pt x="897" y="2747"/>
                  </a:lnTo>
                  <a:lnTo>
                    <a:pt x="899" y="2708"/>
                  </a:lnTo>
                  <a:lnTo>
                    <a:pt x="908" y="2654"/>
                  </a:lnTo>
                  <a:lnTo>
                    <a:pt x="929" y="2593"/>
                  </a:lnTo>
                  <a:lnTo>
                    <a:pt x="969" y="2531"/>
                  </a:lnTo>
                  <a:lnTo>
                    <a:pt x="1033" y="2477"/>
                  </a:lnTo>
                  <a:lnTo>
                    <a:pt x="1127" y="2440"/>
                  </a:lnTo>
                  <a:lnTo>
                    <a:pt x="1139" y="2437"/>
                  </a:lnTo>
                  <a:lnTo>
                    <a:pt x="1172" y="2428"/>
                  </a:lnTo>
                  <a:lnTo>
                    <a:pt x="1223" y="2421"/>
                  </a:lnTo>
                  <a:lnTo>
                    <a:pt x="1285" y="2418"/>
                  </a:lnTo>
                  <a:lnTo>
                    <a:pt x="1355" y="2425"/>
                  </a:lnTo>
                  <a:lnTo>
                    <a:pt x="1426" y="2446"/>
                  </a:lnTo>
                  <a:lnTo>
                    <a:pt x="1494" y="2486"/>
                  </a:lnTo>
                  <a:lnTo>
                    <a:pt x="1557" y="2550"/>
                  </a:lnTo>
                  <a:lnTo>
                    <a:pt x="1565" y="2559"/>
                  </a:lnTo>
                  <a:lnTo>
                    <a:pt x="1588" y="2592"/>
                  </a:lnTo>
                  <a:lnTo>
                    <a:pt x="1612" y="2654"/>
                  </a:lnTo>
                  <a:lnTo>
                    <a:pt x="1628" y="2755"/>
                  </a:lnTo>
                  <a:lnTo>
                    <a:pt x="1624" y="2898"/>
                  </a:lnTo>
                  <a:lnTo>
                    <a:pt x="1550" y="2898"/>
                  </a:lnTo>
                  <a:lnTo>
                    <a:pt x="1411" y="2896"/>
                  </a:lnTo>
                  <a:lnTo>
                    <a:pt x="1334" y="2894"/>
                  </a:lnTo>
                  <a:lnTo>
                    <a:pt x="1334" y="2755"/>
                  </a:lnTo>
                  <a:lnTo>
                    <a:pt x="1331" y="2738"/>
                  </a:lnTo>
                  <a:lnTo>
                    <a:pt x="1311" y="2705"/>
                  </a:lnTo>
                  <a:lnTo>
                    <a:pt x="1266" y="2687"/>
                  </a:lnTo>
                  <a:lnTo>
                    <a:pt x="1221" y="2701"/>
                  </a:lnTo>
                  <a:lnTo>
                    <a:pt x="1204" y="2733"/>
                  </a:lnTo>
                  <a:lnTo>
                    <a:pt x="1200" y="2776"/>
                  </a:lnTo>
                  <a:lnTo>
                    <a:pt x="1200" y="2792"/>
                  </a:lnTo>
                  <a:lnTo>
                    <a:pt x="1200" y="2839"/>
                  </a:lnTo>
                  <a:lnTo>
                    <a:pt x="1200" y="2908"/>
                  </a:lnTo>
                  <a:lnTo>
                    <a:pt x="1200" y="2997"/>
                  </a:lnTo>
                  <a:lnTo>
                    <a:pt x="1200" y="3096"/>
                  </a:lnTo>
                  <a:lnTo>
                    <a:pt x="1200" y="3202"/>
                  </a:lnTo>
                  <a:lnTo>
                    <a:pt x="1200" y="3308"/>
                  </a:lnTo>
                  <a:lnTo>
                    <a:pt x="1200" y="3409"/>
                  </a:lnTo>
                  <a:lnTo>
                    <a:pt x="1200" y="3496"/>
                  </a:lnTo>
                  <a:lnTo>
                    <a:pt x="1200" y="3568"/>
                  </a:lnTo>
                  <a:lnTo>
                    <a:pt x="1200" y="3613"/>
                  </a:lnTo>
                  <a:lnTo>
                    <a:pt x="1200" y="3630"/>
                  </a:lnTo>
                  <a:lnTo>
                    <a:pt x="1202" y="3649"/>
                  </a:lnTo>
                  <a:lnTo>
                    <a:pt x="1216" y="3688"/>
                  </a:lnTo>
                  <a:lnTo>
                    <a:pt x="1263" y="3717"/>
                  </a:lnTo>
                  <a:lnTo>
                    <a:pt x="1303" y="3714"/>
                  </a:lnTo>
                  <a:lnTo>
                    <a:pt x="1336" y="3688"/>
                  </a:lnTo>
                  <a:lnTo>
                    <a:pt x="1350" y="3642"/>
                  </a:lnTo>
                  <a:lnTo>
                    <a:pt x="1350" y="3576"/>
                  </a:lnTo>
                  <a:lnTo>
                    <a:pt x="1350" y="3456"/>
                  </a:lnTo>
                  <a:lnTo>
                    <a:pt x="1350" y="3390"/>
                  </a:lnTo>
                  <a:lnTo>
                    <a:pt x="1268" y="3390"/>
                  </a:lnTo>
                  <a:lnTo>
                    <a:pt x="1268" y="3127"/>
                  </a:lnTo>
                  <a:lnTo>
                    <a:pt x="1638" y="3127"/>
                  </a:lnTo>
                  <a:lnTo>
                    <a:pt x="1638" y="3482"/>
                  </a:lnTo>
                  <a:lnTo>
                    <a:pt x="1649" y="3482"/>
                  </a:lnTo>
                  <a:lnTo>
                    <a:pt x="1638" y="3482"/>
                  </a:lnTo>
                  <a:close/>
                </a:path>
              </a:pathLst>
            </a:custGeom>
            <a:solidFill>
              <a:srgbClr val="0079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38" name="Freeform 15"/>
            <p:cNvSpPr>
              <a:spLocks noEditPoints="1"/>
            </p:cNvSpPr>
            <p:nvPr/>
          </p:nvSpPr>
          <p:spPr bwMode="auto">
            <a:xfrm>
              <a:off x="19993" y="1044"/>
              <a:ext cx="233" cy="233"/>
            </a:xfrm>
            <a:custGeom>
              <a:avLst/>
              <a:gdLst>
                <a:gd name="T0" fmla="*/ 1 w 461"/>
                <a:gd name="T1" fmla="*/ 1 h 460"/>
                <a:gd name="T2" fmla="*/ 1 w 461"/>
                <a:gd name="T3" fmla="*/ 1 h 460"/>
                <a:gd name="T4" fmla="*/ 1 w 461"/>
                <a:gd name="T5" fmla="*/ 1 h 460"/>
                <a:gd name="T6" fmla="*/ 1 w 461"/>
                <a:gd name="T7" fmla="*/ 1 h 460"/>
                <a:gd name="T8" fmla="*/ 1 w 461"/>
                <a:gd name="T9" fmla="*/ 1 h 460"/>
                <a:gd name="T10" fmla="*/ 1 w 461"/>
                <a:gd name="T11" fmla="*/ 1 h 460"/>
                <a:gd name="T12" fmla="*/ 1 w 461"/>
                <a:gd name="T13" fmla="*/ 1 h 460"/>
                <a:gd name="T14" fmla="*/ 1 w 461"/>
                <a:gd name="T15" fmla="*/ 1 h 460"/>
                <a:gd name="T16" fmla="*/ 1 w 461"/>
                <a:gd name="T17" fmla="*/ 1 h 460"/>
                <a:gd name="T18" fmla="*/ 1 w 461"/>
                <a:gd name="T19" fmla="*/ 1 h 460"/>
                <a:gd name="T20" fmla="*/ 0 w 461"/>
                <a:gd name="T21" fmla="*/ 1 h 460"/>
                <a:gd name="T22" fmla="*/ 1 w 461"/>
                <a:gd name="T23" fmla="*/ 1 h 460"/>
                <a:gd name="T24" fmla="*/ 1 w 461"/>
                <a:gd name="T25" fmla="*/ 1 h 460"/>
                <a:gd name="T26" fmla="*/ 1 w 461"/>
                <a:gd name="T27" fmla="*/ 1 h 460"/>
                <a:gd name="T28" fmla="*/ 1 w 461"/>
                <a:gd name="T29" fmla="*/ 1 h 460"/>
                <a:gd name="T30" fmla="*/ 1 w 461"/>
                <a:gd name="T31" fmla="*/ 1 h 460"/>
                <a:gd name="T32" fmla="*/ 1 w 461"/>
                <a:gd name="T33" fmla="*/ 1 h 460"/>
                <a:gd name="T34" fmla="*/ 1 w 461"/>
                <a:gd name="T35" fmla="*/ 1 h 460"/>
                <a:gd name="T36" fmla="*/ 1 w 461"/>
                <a:gd name="T37" fmla="*/ 1 h 460"/>
                <a:gd name="T38" fmla="*/ 1 w 461"/>
                <a:gd name="T39" fmla="*/ 0 h 460"/>
                <a:gd name="T40" fmla="*/ 1 w 461"/>
                <a:gd name="T41" fmla="*/ 1 h 460"/>
                <a:gd name="T42" fmla="*/ 1 w 461"/>
                <a:gd name="T43" fmla="*/ 1 h 460"/>
                <a:gd name="T44" fmla="*/ 0 w 461"/>
                <a:gd name="T45" fmla="*/ 1 h 460"/>
                <a:gd name="T46" fmla="*/ 1 w 461"/>
                <a:gd name="T47" fmla="*/ 1 h 460"/>
                <a:gd name="T48" fmla="*/ 1 w 461"/>
                <a:gd name="T49" fmla="*/ 1 h 460"/>
                <a:gd name="T50" fmla="*/ 1 w 461"/>
                <a:gd name="T51" fmla="*/ 1 h 460"/>
                <a:gd name="T52" fmla="*/ 1 w 461"/>
                <a:gd name="T53" fmla="*/ 1 h 460"/>
                <a:gd name="T54" fmla="*/ 1 w 461"/>
                <a:gd name="T55" fmla="*/ 1 h 460"/>
                <a:gd name="T56" fmla="*/ 1 w 461"/>
                <a:gd name="T57" fmla="*/ 1 h 460"/>
                <a:gd name="T58" fmla="*/ 1 w 461"/>
                <a:gd name="T59" fmla="*/ 1 h 460"/>
                <a:gd name="T60" fmla="*/ 1 w 461"/>
                <a:gd name="T61" fmla="*/ 1 h 460"/>
                <a:gd name="T62" fmla="*/ 1 w 461"/>
                <a:gd name="T63" fmla="*/ 1 h 460"/>
                <a:gd name="T64" fmla="*/ 1 w 461"/>
                <a:gd name="T65" fmla="*/ 1 h 460"/>
                <a:gd name="T66" fmla="*/ 1 w 461"/>
                <a:gd name="T67" fmla="*/ 1 h 460"/>
                <a:gd name="T68" fmla="*/ 1 w 461"/>
                <a:gd name="T69" fmla="*/ 1 h 460"/>
                <a:gd name="T70" fmla="*/ 1 w 461"/>
                <a:gd name="T71" fmla="*/ 1 h 460"/>
                <a:gd name="T72" fmla="*/ 1 w 461"/>
                <a:gd name="T73" fmla="*/ 1 h 460"/>
                <a:gd name="T74" fmla="*/ 1 w 461"/>
                <a:gd name="T75" fmla="*/ 1 h 460"/>
                <a:gd name="T76" fmla="*/ 1 w 461"/>
                <a:gd name="T77" fmla="*/ 1 h 460"/>
                <a:gd name="T78" fmla="*/ 1 w 461"/>
                <a:gd name="T79" fmla="*/ 1 h 460"/>
                <a:gd name="T80" fmla="*/ 1 w 461"/>
                <a:gd name="T81" fmla="*/ 1 h 460"/>
                <a:gd name="T82" fmla="*/ 1 w 461"/>
                <a:gd name="T83" fmla="*/ 1 h 460"/>
                <a:gd name="T84" fmla="*/ 1 w 461"/>
                <a:gd name="T85" fmla="*/ 1 h 460"/>
                <a:gd name="T86" fmla="*/ 1 w 461"/>
                <a:gd name="T87" fmla="*/ 1 h 46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61" h="460">
                  <a:moveTo>
                    <a:pt x="42" y="228"/>
                  </a:moveTo>
                  <a:lnTo>
                    <a:pt x="56" y="153"/>
                  </a:lnTo>
                  <a:lnTo>
                    <a:pt x="96" y="91"/>
                  </a:lnTo>
                  <a:lnTo>
                    <a:pt x="157" y="49"/>
                  </a:lnTo>
                  <a:lnTo>
                    <a:pt x="231" y="35"/>
                  </a:lnTo>
                  <a:lnTo>
                    <a:pt x="306" y="49"/>
                  </a:lnTo>
                  <a:lnTo>
                    <a:pt x="365" y="91"/>
                  </a:lnTo>
                  <a:lnTo>
                    <a:pt x="405" y="153"/>
                  </a:lnTo>
                  <a:lnTo>
                    <a:pt x="419" y="228"/>
                  </a:lnTo>
                  <a:lnTo>
                    <a:pt x="405" y="306"/>
                  </a:lnTo>
                  <a:lnTo>
                    <a:pt x="365" y="369"/>
                  </a:lnTo>
                  <a:lnTo>
                    <a:pt x="306" y="411"/>
                  </a:lnTo>
                  <a:lnTo>
                    <a:pt x="231" y="425"/>
                  </a:lnTo>
                  <a:lnTo>
                    <a:pt x="157" y="411"/>
                  </a:lnTo>
                  <a:lnTo>
                    <a:pt x="96" y="369"/>
                  </a:lnTo>
                  <a:lnTo>
                    <a:pt x="56" y="306"/>
                  </a:lnTo>
                  <a:lnTo>
                    <a:pt x="42" y="228"/>
                  </a:lnTo>
                  <a:close/>
                  <a:moveTo>
                    <a:pt x="0" y="228"/>
                  </a:moveTo>
                  <a:lnTo>
                    <a:pt x="12" y="303"/>
                  </a:lnTo>
                  <a:lnTo>
                    <a:pt x="45" y="367"/>
                  </a:lnTo>
                  <a:lnTo>
                    <a:pt x="96" y="416"/>
                  </a:lnTo>
                  <a:lnTo>
                    <a:pt x="158" y="447"/>
                  </a:lnTo>
                  <a:lnTo>
                    <a:pt x="231" y="460"/>
                  </a:lnTo>
                  <a:lnTo>
                    <a:pt x="303" y="447"/>
                  </a:lnTo>
                  <a:lnTo>
                    <a:pt x="367" y="416"/>
                  </a:lnTo>
                  <a:lnTo>
                    <a:pt x="416" y="367"/>
                  </a:lnTo>
                  <a:lnTo>
                    <a:pt x="449" y="303"/>
                  </a:lnTo>
                  <a:lnTo>
                    <a:pt x="461" y="228"/>
                  </a:lnTo>
                  <a:lnTo>
                    <a:pt x="449" y="155"/>
                  </a:lnTo>
                  <a:lnTo>
                    <a:pt x="416" y="93"/>
                  </a:lnTo>
                  <a:lnTo>
                    <a:pt x="367" y="44"/>
                  </a:lnTo>
                  <a:lnTo>
                    <a:pt x="303" y="12"/>
                  </a:lnTo>
                  <a:lnTo>
                    <a:pt x="231" y="0"/>
                  </a:lnTo>
                  <a:lnTo>
                    <a:pt x="158" y="12"/>
                  </a:lnTo>
                  <a:lnTo>
                    <a:pt x="96" y="44"/>
                  </a:lnTo>
                  <a:lnTo>
                    <a:pt x="45" y="93"/>
                  </a:lnTo>
                  <a:lnTo>
                    <a:pt x="12" y="155"/>
                  </a:lnTo>
                  <a:lnTo>
                    <a:pt x="0" y="228"/>
                  </a:lnTo>
                  <a:close/>
                  <a:moveTo>
                    <a:pt x="141" y="364"/>
                  </a:moveTo>
                  <a:lnTo>
                    <a:pt x="183" y="364"/>
                  </a:lnTo>
                  <a:lnTo>
                    <a:pt x="183" y="247"/>
                  </a:lnTo>
                  <a:lnTo>
                    <a:pt x="228" y="247"/>
                  </a:lnTo>
                  <a:lnTo>
                    <a:pt x="301" y="364"/>
                  </a:lnTo>
                  <a:lnTo>
                    <a:pt x="346" y="364"/>
                  </a:lnTo>
                  <a:lnTo>
                    <a:pt x="325" y="333"/>
                  </a:lnTo>
                  <a:lnTo>
                    <a:pt x="289" y="275"/>
                  </a:lnTo>
                  <a:lnTo>
                    <a:pt x="270" y="244"/>
                  </a:lnTo>
                  <a:lnTo>
                    <a:pt x="304" y="235"/>
                  </a:lnTo>
                  <a:lnTo>
                    <a:pt x="331" y="213"/>
                  </a:lnTo>
                  <a:lnTo>
                    <a:pt x="339" y="173"/>
                  </a:lnTo>
                  <a:lnTo>
                    <a:pt x="329" y="131"/>
                  </a:lnTo>
                  <a:lnTo>
                    <a:pt x="298" y="105"/>
                  </a:lnTo>
                  <a:lnTo>
                    <a:pt x="245" y="96"/>
                  </a:lnTo>
                  <a:lnTo>
                    <a:pt x="219" y="96"/>
                  </a:lnTo>
                  <a:lnTo>
                    <a:pt x="169" y="96"/>
                  </a:lnTo>
                  <a:lnTo>
                    <a:pt x="141" y="96"/>
                  </a:lnTo>
                  <a:lnTo>
                    <a:pt x="141" y="364"/>
                  </a:lnTo>
                  <a:close/>
                  <a:moveTo>
                    <a:pt x="183" y="129"/>
                  </a:moveTo>
                  <a:lnTo>
                    <a:pt x="198" y="129"/>
                  </a:lnTo>
                  <a:lnTo>
                    <a:pt x="224" y="129"/>
                  </a:lnTo>
                  <a:lnTo>
                    <a:pt x="238" y="129"/>
                  </a:lnTo>
                  <a:lnTo>
                    <a:pt x="266" y="133"/>
                  </a:lnTo>
                  <a:lnTo>
                    <a:pt x="289" y="145"/>
                  </a:lnTo>
                  <a:lnTo>
                    <a:pt x="298" y="171"/>
                  </a:lnTo>
                  <a:lnTo>
                    <a:pt x="287" y="202"/>
                  </a:lnTo>
                  <a:lnTo>
                    <a:pt x="261" y="213"/>
                  </a:lnTo>
                  <a:lnTo>
                    <a:pt x="226" y="216"/>
                  </a:lnTo>
                  <a:lnTo>
                    <a:pt x="216" y="216"/>
                  </a:lnTo>
                  <a:lnTo>
                    <a:pt x="195" y="216"/>
                  </a:lnTo>
                  <a:lnTo>
                    <a:pt x="183" y="216"/>
                  </a:lnTo>
                  <a:lnTo>
                    <a:pt x="183" y="129"/>
                  </a:lnTo>
                  <a:close/>
                </a:path>
              </a:pathLst>
            </a:custGeom>
            <a:solidFill>
              <a:srgbClr val="0079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</p:grpSp>
      <p:sp>
        <p:nvSpPr>
          <p:cNvPr id="1029" name="Line 2"/>
          <p:cNvSpPr>
            <a:spLocks noChangeShapeType="1"/>
          </p:cNvSpPr>
          <p:nvPr/>
        </p:nvSpPr>
        <p:spPr bwMode="auto">
          <a:xfrm>
            <a:off x="0" y="881063"/>
            <a:ext cx="9140825" cy="0"/>
          </a:xfrm>
          <a:prstGeom prst="line">
            <a:avLst/>
          </a:prstGeom>
          <a:noFill/>
          <a:ln w="25400">
            <a:solidFill>
              <a:srgbClr val="FAA53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31" name="TextBox 31"/>
          <p:cNvSpPr txBox="1">
            <a:spLocks noChangeArrowheads="1"/>
          </p:cNvSpPr>
          <p:nvPr/>
        </p:nvSpPr>
        <p:spPr bwMode="auto">
          <a:xfrm>
            <a:off x="8486775" y="6575425"/>
            <a:ext cx="6096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 eaLnBrk="0" hangingPunct="0"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 eaLnBrk="0" hangingPunct="0"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 eaLnBrk="0" hangingPunct="0"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 eaLnBrk="0" hangingPunct="0"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r">
              <a:defRPr/>
            </a:pPr>
            <a:fld id="{56EF491F-3E1B-464C-9C2E-B7093B1D379B}" type="slidenum">
              <a:rPr lang="en-US" sz="1000" smtClean="0"/>
              <a:pPr algn="r">
                <a:defRPr/>
              </a:pPr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853788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</p:sldLayoutIdLst>
  <p:txStyles>
    <p:titleStyle>
      <a:lvl1pPr algn="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99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99"/>
          </a:solidFill>
          <a:latin typeface="Arial" charset="0"/>
          <a:ea typeface="ＭＳ Ｐゴシック" pitchFamily="1" charset="-128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99"/>
          </a:solidFill>
          <a:latin typeface="Arial" charset="0"/>
          <a:ea typeface="ＭＳ Ｐゴシック" pitchFamily="1" charset="-128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99"/>
          </a:solidFill>
          <a:latin typeface="Arial" charset="0"/>
          <a:ea typeface="ＭＳ Ｐゴシック" pitchFamily="1" charset="-128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6699"/>
          </a:solidFill>
          <a:latin typeface="Arial" charset="0"/>
          <a:ea typeface="ＭＳ Ｐゴシック" pitchFamily="1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B7893"/>
          </a:solidFill>
          <a:latin typeface="Arial" charset="0"/>
          <a:ea typeface="ＭＳ Ｐゴシック" pitchFamily="1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B7893"/>
          </a:solidFill>
          <a:latin typeface="Arial" charset="0"/>
          <a:ea typeface="ＭＳ Ｐゴシック" pitchFamily="1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B7893"/>
          </a:solidFill>
          <a:latin typeface="Arial" charset="0"/>
          <a:ea typeface="ＭＳ Ｐゴシック" pitchFamily="1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B7893"/>
          </a:solidFill>
          <a:latin typeface="Arial" charset="0"/>
          <a:ea typeface="ＭＳ Ｐゴシック" pitchFamily="1" charset="-128"/>
        </a:defRPr>
      </a:lvl9pPr>
    </p:titleStyle>
    <p:bodyStyle>
      <a:lvl1pPr marL="342900" indent="-342900" algn="l" rtl="0" eaLnBrk="0" fontAlgn="base" hangingPunct="0">
        <a:spcBef>
          <a:spcPct val="25000"/>
        </a:spcBef>
        <a:spcAft>
          <a:spcPct val="20000"/>
        </a:spcAft>
        <a:defRPr b="1">
          <a:solidFill>
            <a:srgbClr val="333333"/>
          </a:solidFill>
          <a:latin typeface="+mn-lt"/>
          <a:ea typeface="+mn-ea"/>
          <a:cs typeface="+mn-cs"/>
        </a:defRPr>
      </a:lvl1pPr>
      <a:lvl2pPr marL="285750" indent="-171450" algn="l" rtl="0" eaLnBrk="0" fontAlgn="base" hangingPunct="0">
        <a:spcBef>
          <a:spcPct val="25000"/>
        </a:spcBef>
        <a:spcAft>
          <a:spcPct val="20000"/>
        </a:spcAft>
        <a:buClr>
          <a:srgbClr val="006699"/>
        </a:buClr>
        <a:buSzPct val="10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2pPr>
      <a:lvl3pPr marL="574675" indent="-174625" algn="l" rtl="0" eaLnBrk="0" fontAlgn="base" hangingPunct="0">
        <a:spcBef>
          <a:spcPct val="25000"/>
        </a:spcBef>
        <a:spcAft>
          <a:spcPct val="20000"/>
        </a:spcAft>
        <a:buClr>
          <a:srgbClr val="006699"/>
        </a:buClr>
        <a:buFont typeface="Symbol" pitchFamily="18" charset="2"/>
        <a:buChar char=""/>
        <a:defRPr sz="1400">
          <a:solidFill>
            <a:srgbClr val="333333"/>
          </a:solidFill>
          <a:latin typeface="+mn-lt"/>
          <a:ea typeface="+mn-ea"/>
        </a:defRPr>
      </a:lvl3pPr>
      <a:lvl4pPr marL="855663" indent="-166688" algn="l" rtl="0" eaLnBrk="0" fontAlgn="base" hangingPunct="0">
        <a:spcBef>
          <a:spcPct val="25000"/>
        </a:spcBef>
        <a:spcAft>
          <a:spcPct val="20000"/>
        </a:spcAft>
        <a:buClr>
          <a:srgbClr val="006699"/>
        </a:buClr>
        <a:buSzPct val="100000"/>
        <a:buFont typeface="Arial" pitchFamily="34" charset="0"/>
        <a:buChar char="•"/>
        <a:defRPr sz="1200">
          <a:solidFill>
            <a:srgbClr val="333333"/>
          </a:solidFill>
          <a:latin typeface="+mn-lt"/>
          <a:ea typeface="+mn-ea"/>
        </a:defRPr>
      </a:lvl4pPr>
      <a:lvl5pPr marL="1143000" indent="-173038" algn="l" rtl="0" eaLnBrk="0" fontAlgn="base" hangingPunct="0">
        <a:spcBef>
          <a:spcPct val="25000"/>
        </a:spcBef>
        <a:spcAft>
          <a:spcPct val="20000"/>
        </a:spcAft>
        <a:buClr>
          <a:srgbClr val="006699"/>
        </a:buClr>
        <a:buFont typeface="Symbol" pitchFamily="18" charset="2"/>
        <a:buChar char=""/>
        <a:defRPr sz="1000">
          <a:solidFill>
            <a:srgbClr val="333333"/>
          </a:solidFill>
          <a:latin typeface="+mn-lt"/>
          <a:ea typeface="+mn-ea"/>
        </a:defRPr>
      </a:lvl5pPr>
      <a:lvl6pPr marL="1600200" indent="-173038" algn="l" rtl="0" eaLnBrk="1" fontAlgn="base" hangingPunct="1">
        <a:spcBef>
          <a:spcPct val="25000"/>
        </a:spcBef>
        <a:spcAft>
          <a:spcPct val="20000"/>
        </a:spcAft>
        <a:buClr>
          <a:srgbClr val="999999"/>
        </a:buClr>
        <a:buFont typeface="Symbol" pitchFamily="18" charset="2"/>
        <a:buChar char=""/>
        <a:defRPr sz="1000">
          <a:solidFill>
            <a:srgbClr val="333333"/>
          </a:solidFill>
          <a:latin typeface="+mn-lt"/>
          <a:ea typeface="+mn-ea"/>
        </a:defRPr>
      </a:lvl6pPr>
      <a:lvl7pPr marL="2057400" indent="-173038" algn="l" rtl="0" eaLnBrk="1" fontAlgn="base" hangingPunct="1">
        <a:spcBef>
          <a:spcPct val="25000"/>
        </a:spcBef>
        <a:spcAft>
          <a:spcPct val="20000"/>
        </a:spcAft>
        <a:buClr>
          <a:srgbClr val="999999"/>
        </a:buClr>
        <a:buFont typeface="Symbol" pitchFamily="18" charset="2"/>
        <a:buChar char=""/>
        <a:defRPr sz="1000">
          <a:solidFill>
            <a:srgbClr val="333333"/>
          </a:solidFill>
          <a:latin typeface="+mn-lt"/>
          <a:ea typeface="+mn-ea"/>
        </a:defRPr>
      </a:lvl7pPr>
      <a:lvl8pPr marL="2514600" indent="-173038" algn="l" rtl="0" eaLnBrk="1" fontAlgn="base" hangingPunct="1">
        <a:spcBef>
          <a:spcPct val="25000"/>
        </a:spcBef>
        <a:spcAft>
          <a:spcPct val="20000"/>
        </a:spcAft>
        <a:buClr>
          <a:srgbClr val="999999"/>
        </a:buClr>
        <a:buFont typeface="Symbol" pitchFamily="18" charset="2"/>
        <a:buChar char=""/>
        <a:defRPr sz="1000">
          <a:solidFill>
            <a:srgbClr val="333333"/>
          </a:solidFill>
          <a:latin typeface="+mn-lt"/>
          <a:ea typeface="+mn-ea"/>
        </a:defRPr>
      </a:lvl8pPr>
      <a:lvl9pPr marL="2971800" indent="-173038" algn="l" rtl="0" eaLnBrk="1" fontAlgn="base" hangingPunct="1">
        <a:spcBef>
          <a:spcPct val="25000"/>
        </a:spcBef>
        <a:spcAft>
          <a:spcPct val="20000"/>
        </a:spcAft>
        <a:buClr>
          <a:srgbClr val="999999"/>
        </a:buClr>
        <a:buFont typeface="Symbol" pitchFamily="18" charset="2"/>
        <a:buChar char=""/>
        <a:defRPr sz="10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tmp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mp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0.png"/><Relationship Id="rId1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mp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0" y="2743200"/>
            <a:ext cx="6734175" cy="609600"/>
          </a:xfrm>
        </p:spPr>
        <p:txBody>
          <a:bodyPr>
            <a:normAutofit/>
          </a:bodyPr>
          <a:lstStyle/>
          <a:p>
            <a:r>
              <a:rPr lang="en-US" sz="3600" dirty="0">
                <a:latin typeface="Calibri"/>
                <a:cs typeface="Times New Roman"/>
              </a:rPr>
              <a:t>Cost Effectiveness in EE</a:t>
            </a:r>
            <a:endParaRPr 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 bwMode="auto">
          <a:xfrm>
            <a:off x="1524000" y="3581400"/>
            <a:ext cx="7452359" cy="1046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28557" tIns="0" rIns="0" bIns="0" numCol="1" anchor="t" anchorCtr="0" compatLnSpc="1">
            <a:prstTxWarp prst="textNoShape">
              <a:avLst/>
            </a:prstTxWarp>
            <a:normAutofit fontScale="97500"/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006699"/>
                </a:solidFill>
                <a:latin typeface="+mj-lt"/>
                <a:ea typeface="+mj-ea"/>
                <a:cs typeface="+mj-cs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99"/>
                </a:solidFill>
                <a:latin typeface="Arial" charset="0"/>
                <a:ea typeface="ＭＳ Ｐゴシック" pitchFamily="1" charset="-128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99"/>
                </a:solidFill>
                <a:latin typeface="Arial" charset="0"/>
                <a:ea typeface="ＭＳ Ｐゴシック" pitchFamily="1" charset="-128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99"/>
                </a:solidFill>
                <a:latin typeface="Arial" charset="0"/>
                <a:ea typeface="ＭＳ Ｐゴシック" pitchFamily="1" charset="-128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99"/>
                </a:solidFill>
                <a:latin typeface="Arial" charset="0"/>
                <a:ea typeface="ＭＳ Ｐゴシック" pitchFamily="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5B7893"/>
                </a:solidFill>
                <a:latin typeface="Arial" charset="0"/>
                <a:ea typeface="ＭＳ Ｐゴシック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5B7893"/>
                </a:solidFill>
                <a:latin typeface="Arial" charset="0"/>
                <a:ea typeface="ＭＳ Ｐゴシック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5B7893"/>
                </a:solidFill>
                <a:latin typeface="Arial" charset="0"/>
                <a:ea typeface="ＭＳ Ｐゴシック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5B7893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r>
              <a:rPr lang="en-US" sz="2600" kern="0" dirty="0"/>
              <a:t>Adam Scheer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1523999" y="4592360"/>
            <a:ext cx="7452359" cy="1046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28557" tIns="0" rIns="0" bIns="0" numCol="1" anchor="t" anchorCtr="0" compatLnSpc="1">
            <a:prstTxWarp prst="textNoShape">
              <a:avLst/>
            </a:prstTxWarp>
            <a:normAutofit fontScale="97500"/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rgbClr val="006699"/>
                </a:solidFill>
                <a:latin typeface="+mj-lt"/>
                <a:ea typeface="+mj-ea"/>
                <a:cs typeface="+mj-cs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99"/>
                </a:solidFill>
                <a:latin typeface="Arial" charset="0"/>
                <a:ea typeface="ＭＳ Ｐゴシック" pitchFamily="1" charset="-128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99"/>
                </a:solidFill>
                <a:latin typeface="Arial" charset="0"/>
                <a:ea typeface="ＭＳ Ｐゴシック" pitchFamily="1" charset="-128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99"/>
                </a:solidFill>
                <a:latin typeface="Arial" charset="0"/>
                <a:ea typeface="ＭＳ Ｐゴシック" pitchFamily="1" charset="-128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99"/>
                </a:solidFill>
                <a:latin typeface="Arial" charset="0"/>
                <a:ea typeface="ＭＳ Ｐゴシック" pitchFamily="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5B7893"/>
                </a:solidFill>
                <a:latin typeface="Arial" charset="0"/>
                <a:ea typeface="ＭＳ Ｐゴシック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5B7893"/>
                </a:solidFill>
                <a:latin typeface="Arial" charset="0"/>
                <a:ea typeface="ＭＳ Ｐゴシック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5B7893"/>
                </a:solidFill>
                <a:latin typeface="Arial" charset="0"/>
                <a:ea typeface="ＭＳ Ｐゴシック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5B7893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r>
              <a:rPr lang="en-US" sz="2400" kern="0" dirty="0"/>
              <a:t>CAEECC</a:t>
            </a:r>
          </a:p>
          <a:p>
            <a:r>
              <a:rPr lang="en-US" sz="2300" kern="0" dirty="0"/>
              <a:t>8/2/2018</a:t>
            </a:r>
          </a:p>
        </p:txBody>
      </p:sp>
    </p:spTree>
    <p:extLst>
      <p:ext uri="{BB962C8B-B14F-4D97-AF65-F5344CB8AC3E}">
        <p14:creationId xmlns:p14="http://schemas.microsoft.com/office/powerpoint/2010/main" val="40317774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85801" y="296872"/>
            <a:ext cx="8458199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300" b="1" dirty="0">
                <a:solidFill>
                  <a:srgbClr val="1F497D"/>
                </a:solidFill>
              </a:rPr>
              <a:t>TRC and Policy Goals. Round 1 – Serving the SMB Sector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28081" y="1104781"/>
            <a:ext cx="8305801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300" b="1" dirty="0">
                <a:solidFill>
                  <a:srgbClr val="1F497D"/>
                </a:solidFill>
                <a:latin typeface="Calibri" panose="020F0502020204030204" pitchFamily="34" charset="0"/>
              </a:rPr>
              <a:t>Very low mid-day avoided costs, yields low TRC benefits for serving SMB and many other non-res customers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87A95FB-3432-4EBD-ACC7-118643DA2292}"/>
              </a:ext>
            </a:extLst>
          </p:cNvPr>
          <p:cNvSpPr/>
          <p:nvPr/>
        </p:nvSpPr>
        <p:spPr bwMode="auto">
          <a:xfrm>
            <a:off x="0" y="6629399"/>
            <a:ext cx="1828800" cy="22860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33333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D496A19-AD78-4B5E-921B-F7FFCA68564C}"/>
              </a:ext>
            </a:extLst>
          </p:cNvPr>
          <p:cNvSpPr/>
          <p:nvPr/>
        </p:nvSpPr>
        <p:spPr>
          <a:xfrm>
            <a:off x="28575" y="6504801"/>
            <a:ext cx="88201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  <a:latin typeface="Calibri"/>
                <a:cs typeface="Calibri"/>
              </a:rPr>
              <a:t>Load shapes obtained from: the Database for Energy Efficiency Resources; DEER 2011 Non-Res </a:t>
            </a:r>
            <a:r>
              <a:rPr lang="en-US" sz="1200" dirty="0" err="1">
                <a:solidFill>
                  <a:schemeClr val="tx2"/>
                </a:solidFill>
                <a:latin typeface="Calibri"/>
                <a:cs typeface="Calibri"/>
              </a:rPr>
              <a:t>Indoor_Non-CFL_Ltg</a:t>
            </a:r>
            <a:r>
              <a:rPr lang="en-US" sz="1200" dirty="0">
                <a:solidFill>
                  <a:schemeClr val="tx2"/>
                </a:solidFill>
                <a:latin typeface="Calibri"/>
                <a:cs typeface="Calibri"/>
              </a:rPr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2E01A75-B9BD-4088-8DD4-DE6B4AF98B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4600" y="2161321"/>
            <a:ext cx="6400800" cy="3858479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1C3777E-B403-4504-9675-941729E73638}"/>
              </a:ext>
            </a:extLst>
          </p:cNvPr>
          <p:cNvSpPr txBox="1"/>
          <p:nvPr/>
        </p:nvSpPr>
        <p:spPr>
          <a:xfrm>
            <a:off x="152400" y="2481129"/>
            <a:ext cx="21336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err="1">
                <a:solidFill>
                  <a:srgbClr val="1F497D"/>
                </a:solidFill>
                <a:latin typeface="Calibri" panose="020F0502020204030204" pitchFamily="34" charset="0"/>
              </a:rPr>
              <a:t>Comm</a:t>
            </a:r>
            <a:r>
              <a:rPr lang="en-US" sz="2000" b="1" dirty="0">
                <a:solidFill>
                  <a:srgbClr val="1F497D"/>
                </a:solidFill>
                <a:latin typeface="Calibri" panose="020F0502020204030204" pitchFamily="34" charset="0"/>
              </a:rPr>
              <a:t> Lighting vs. 2024 Avoided Cost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C47660C-2BD8-48A5-B424-11FB5BA2B709}"/>
              </a:ext>
            </a:extLst>
          </p:cNvPr>
          <p:cNvSpPr txBox="1"/>
          <p:nvPr/>
        </p:nvSpPr>
        <p:spPr>
          <a:xfrm>
            <a:off x="152400" y="3853696"/>
            <a:ext cx="2209800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1F497D"/>
                </a:solidFill>
                <a:latin typeface="Calibri" panose="020F0502020204030204" pitchFamily="34" charset="0"/>
              </a:rPr>
              <a:t>42% of savings during hours of dramatically reduced avoided costs.</a:t>
            </a:r>
          </a:p>
        </p:txBody>
      </p:sp>
    </p:spTree>
    <p:extLst>
      <p:ext uri="{BB962C8B-B14F-4D97-AF65-F5344CB8AC3E}">
        <p14:creationId xmlns:p14="http://schemas.microsoft.com/office/powerpoint/2010/main" val="36423802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62000" y="228600"/>
            <a:ext cx="83166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1F497D"/>
                </a:solidFill>
              </a:rPr>
              <a:t>TRC and Policy Goals. Round 2 – Serving DAC and HTR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69398" y="1964563"/>
            <a:ext cx="32766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1F497D"/>
                </a:solidFill>
                <a:latin typeface="Calibri" panose="020F0502020204030204" pitchFamily="34" charset="0"/>
              </a:rPr>
              <a:t>Supporting DAC, HTR and Low-Income customers is a major policy priority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87A95FB-3432-4EBD-ACC7-118643DA2292}"/>
              </a:ext>
            </a:extLst>
          </p:cNvPr>
          <p:cNvSpPr/>
          <p:nvPr/>
        </p:nvSpPr>
        <p:spPr bwMode="auto">
          <a:xfrm>
            <a:off x="0" y="6629399"/>
            <a:ext cx="1828800" cy="22860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33333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D496A19-AD78-4B5E-921B-F7FFCA68564C}"/>
              </a:ext>
            </a:extLst>
          </p:cNvPr>
          <p:cNvSpPr/>
          <p:nvPr/>
        </p:nvSpPr>
        <p:spPr>
          <a:xfrm>
            <a:off x="28575" y="6611779"/>
            <a:ext cx="882012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aseline="30000" dirty="0">
                <a:solidFill>
                  <a:schemeClr val="tx2"/>
                </a:solidFill>
              </a:rPr>
              <a:t>1</a:t>
            </a:r>
            <a:r>
              <a:rPr lang="en-US" sz="1000" i="1" dirty="0">
                <a:solidFill>
                  <a:schemeClr val="tx2"/>
                </a:solidFill>
              </a:rPr>
              <a:t>The Cost of Saving Electricity Through Energy Efficiency Programs Funded by Utility Customers: 2009–2015. </a:t>
            </a:r>
            <a:r>
              <a:rPr lang="en-US" sz="1000" dirty="0">
                <a:solidFill>
                  <a:schemeClr val="tx2"/>
                </a:solidFill>
              </a:rPr>
              <a:t>I. Hoffman et al. (LBNL, 2018). </a:t>
            </a:r>
          </a:p>
        </p:txBody>
      </p:sp>
      <p:pic>
        <p:nvPicPr>
          <p:cNvPr id="7" name="Picture 6" descr="Screen Clipping">
            <a:extLst>
              <a:ext uri="{FF2B5EF4-FFF2-40B4-BE49-F238E27FC236}">
                <a16:creationId xmlns:a16="http://schemas.microsoft.com/office/drawing/2014/main" id="{A4C733E7-E51B-4F56-956E-EA527766B5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0069" y="1889100"/>
            <a:ext cx="5509933" cy="429004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7C4529C-51D3-4561-A86F-FB446527734A}"/>
              </a:ext>
            </a:extLst>
          </p:cNvPr>
          <p:cNvSpPr txBox="1"/>
          <p:nvPr/>
        </p:nvSpPr>
        <p:spPr>
          <a:xfrm>
            <a:off x="169398" y="3436754"/>
            <a:ext cx="3276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1F497D"/>
                </a:solidFill>
                <a:latin typeface="Calibri" panose="020F0502020204030204" pitchFamily="34" charset="0"/>
              </a:rPr>
              <a:t>3x cost for delivering EE to the low income sector.</a:t>
            </a:r>
            <a:r>
              <a:rPr lang="en-US" sz="2000" b="1" baseline="30000" dirty="0">
                <a:solidFill>
                  <a:srgbClr val="1F497D"/>
                </a:solidFill>
                <a:latin typeface="Calibri" panose="020F0502020204030204" pitchFamily="34" charset="0"/>
              </a:rPr>
              <a:t>1</a:t>
            </a:r>
            <a:endParaRPr lang="en-US" sz="2000" b="1" dirty="0">
              <a:solidFill>
                <a:srgbClr val="1F497D"/>
              </a:solidFill>
              <a:latin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05FF61-F25A-479F-8629-80CFE2988459}"/>
              </a:ext>
            </a:extLst>
          </p:cNvPr>
          <p:cNvSpPr txBox="1"/>
          <p:nvPr/>
        </p:nvSpPr>
        <p:spPr>
          <a:xfrm>
            <a:off x="145078" y="4585780"/>
            <a:ext cx="325228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1F497D"/>
                </a:solidFill>
                <a:latin typeface="Calibri" panose="020F0502020204030204" pitchFamily="34" charset="0"/>
              </a:rPr>
              <a:t>High costs are anticipated for DAC/HTR (the need for Direct Install, expensive customer recruitment etc.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FDA6626-79B6-4DD3-AC15-9F5025C07E97}"/>
              </a:ext>
            </a:extLst>
          </p:cNvPr>
          <p:cNvSpPr txBox="1"/>
          <p:nvPr/>
        </p:nvSpPr>
        <p:spPr>
          <a:xfrm>
            <a:off x="197796" y="1136096"/>
            <a:ext cx="884652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1F497D"/>
                </a:solidFill>
                <a:latin typeface="Calibri" panose="020F0502020204030204" pitchFamily="34" charset="0"/>
              </a:rPr>
              <a:t>It is often more expensive to serve DAC, HTR and Low-Income customers.</a:t>
            </a:r>
          </a:p>
        </p:txBody>
      </p:sp>
    </p:spTree>
    <p:extLst>
      <p:ext uri="{BB962C8B-B14F-4D97-AF65-F5344CB8AC3E}">
        <p14:creationId xmlns:p14="http://schemas.microsoft.com/office/powerpoint/2010/main" val="42592480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827315" y="228600"/>
            <a:ext cx="7924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1F497D"/>
                </a:solidFill>
              </a:rPr>
              <a:t>TRC and Policy Goals. Round 3 – Deep Savings</a:t>
            </a:r>
          </a:p>
        </p:txBody>
      </p:sp>
      <p:pic>
        <p:nvPicPr>
          <p:cNvPr id="3" name="Picture 2" descr="Screen Clippi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8970" y="1219200"/>
            <a:ext cx="6058830" cy="36576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181816" y="5339658"/>
            <a:ext cx="5666888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00" b="1" i="1" dirty="0">
                <a:solidFill>
                  <a:srgbClr val="1F497D"/>
                </a:solidFill>
                <a:latin typeface="Calibri" panose="020F0502020204030204" pitchFamily="34" charset="0"/>
              </a:rPr>
              <a:t>Customers report that half of EUC benefits are non-energy factors,</a:t>
            </a:r>
            <a:r>
              <a:rPr lang="en-US" sz="2100" b="1" i="1" baseline="30000" dirty="0">
                <a:solidFill>
                  <a:srgbClr val="1F497D"/>
                </a:solidFill>
                <a:latin typeface="Calibri" panose="020F0502020204030204" pitchFamily="34" charset="0"/>
              </a:rPr>
              <a:t>1</a:t>
            </a:r>
            <a:r>
              <a:rPr lang="en-US" sz="2100" b="1" i="1" dirty="0">
                <a:solidFill>
                  <a:srgbClr val="1F497D"/>
                </a:solidFill>
                <a:latin typeface="Calibri" panose="020F0502020204030204" pitchFamily="34" charset="0"/>
              </a:rPr>
              <a:t> yet </a:t>
            </a:r>
            <a:r>
              <a:rPr lang="en-US" sz="2100" b="1" i="1" u="sng" dirty="0">
                <a:solidFill>
                  <a:srgbClr val="1F497D"/>
                </a:solidFill>
                <a:latin typeface="Calibri" panose="020F0502020204030204" pitchFamily="34" charset="0"/>
              </a:rPr>
              <a:t>all</a:t>
            </a:r>
            <a:r>
              <a:rPr lang="en-US" sz="2100" b="1" i="1" dirty="0">
                <a:solidFill>
                  <a:srgbClr val="1F497D"/>
                </a:solidFill>
                <a:latin typeface="Calibri" panose="020F0502020204030204" pitchFamily="34" charset="0"/>
              </a:rPr>
              <a:t> costs are traditionally included in the TRC. 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048000" y="4876800"/>
            <a:ext cx="4571999" cy="5058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20000"/>
              </a:lnSpc>
            </a:pPr>
            <a:r>
              <a:rPr lang="en-US" sz="900" i="1" dirty="0">
                <a:solidFill>
                  <a:srgbClr val="1F497D"/>
                </a:solidFill>
              </a:rPr>
              <a:t>PG&amp;E Whole House Program: Marketing and Targeting Analysis. Opinion Dynamics Corporation, 2014. CALMAC ID: PGE0302.05</a:t>
            </a: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2791189" y="1319114"/>
            <a:ext cx="3838211" cy="304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20000"/>
              </a:lnSpc>
            </a:pPr>
            <a:r>
              <a:rPr lang="en-US" sz="1500" b="1" dirty="0">
                <a:solidFill>
                  <a:srgbClr val="1F497D"/>
                </a:solidFill>
                <a:latin typeface="Calibri" panose="020F0502020204030204" pitchFamily="34" charset="0"/>
              </a:rPr>
              <a:t>PG&amp;E Energy Upgrade California Home Upgrade participants: The value of a retrofi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87A95FB-3432-4EBD-ACC7-118643DA2292}"/>
              </a:ext>
            </a:extLst>
          </p:cNvPr>
          <p:cNvSpPr/>
          <p:nvPr/>
        </p:nvSpPr>
        <p:spPr bwMode="auto">
          <a:xfrm>
            <a:off x="0" y="6629399"/>
            <a:ext cx="1828800" cy="22860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33333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D496A19-AD78-4B5E-921B-F7FFCA68564C}"/>
              </a:ext>
            </a:extLst>
          </p:cNvPr>
          <p:cNvSpPr/>
          <p:nvPr/>
        </p:nvSpPr>
        <p:spPr>
          <a:xfrm>
            <a:off x="28575" y="6473529"/>
            <a:ext cx="882012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aseline="30000" dirty="0">
                <a:solidFill>
                  <a:schemeClr val="tx2"/>
                </a:solidFill>
              </a:rPr>
              <a:t>1</a:t>
            </a:r>
            <a:r>
              <a:rPr lang="en-US" sz="1000" dirty="0">
                <a:solidFill>
                  <a:schemeClr val="tx2"/>
                </a:solidFill>
              </a:rPr>
              <a:t>This evaluation finding is supported in </a:t>
            </a:r>
            <a:r>
              <a:rPr lang="en-US" sz="1000" i="1" dirty="0">
                <a:solidFill>
                  <a:schemeClr val="tx2"/>
                </a:solidFill>
              </a:rPr>
              <a:t>Energy Upgrade California – Home Upgrade Program Process Evaluation 2014-2015</a:t>
            </a:r>
            <a:r>
              <a:rPr lang="en-US" sz="1000" dirty="0">
                <a:solidFill>
                  <a:schemeClr val="tx2"/>
                </a:solidFill>
              </a:rPr>
              <a:t>, EMI Consulting, 2015. CALMAC ID: PGE0389.01 </a:t>
            </a:r>
            <a:r>
              <a:rPr lang="en-US" sz="1000" i="1" dirty="0">
                <a:solidFill>
                  <a:schemeClr val="tx2"/>
                </a:solidFill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22C527B-2C66-4DA7-A7EF-92195A5007AA}"/>
              </a:ext>
            </a:extLst>
          </p:cNvPr>
          <p:cNvSpPr txBox="1"/>
          <p:nvPr/>
        </p:nvSpPr>
        <p:spPr>
          <a:xfrm>
            <a:off x="167153" y="1249680"/>
            <a:ext cx="262890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300" b="1" dirty="0">
                <a:solidFill>
                  <a:srgbClr val="1F497D"/>
                </a:solidFill>
                <a:latin typeface="Calibri" panose="020F0502020204030204" pitchFamily="34" charset="0"/>
              </a:rPr>
              <a:t>Higher Efficiency Equipment and Practices = Higher Measure Cos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2340EA8-0FEC-4E8A-B898-3811A6F2716C}"/>
              </a:ext>
            </a:extLst>
          </p:cNvPr>
          <p:cNvSpPr txBox="1"/>
          <p:nvPr/>
        </p:nvSpPr>
        <p:spPr>
          <a:xfrm>
            <a:off x="167153" y="3113038"/>
            <a:ext cx="2628900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300" b="1" dirty="0">
                <a:solidFill>
                  <a:srgbClr val="1F497D"/>
                </a:solidFill>
                <a:latin typeface="Calibri" panose="020F0502020204030204" pitchFamily="34" charset="0"/>
              </a:rPr>
              <a:t>High Product Quality = High Measure Co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DA743B6-562D-4128-A27D-730626FE0689}"/>
              </a:ext>
            </a:extLst>
          </p:cNvPr>
          <p:cNvSpPr txBox="1"/>
          <p:nvPr/>
        </p:nvSpPr>
        <p:spPr>
          <a:xfrm>
            <a:off x="167153" y="4667946"/>
            <a:ext cx="262890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300" b="1" dirty="0">
                <a:solidFill>
                  <a:srgbClr val="1F497D"/>
                </a:solidFill>
                <a:latin typeface="Calibri" panose="020F0502020204030204" pitchFamily="34" charset="0"/>
              </a:rPr>
              <a:t>Deep retrofit programs drive substantial costs into portfolio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A3441E0-1984-4BA9-A229-7213F5556513}"/>
              </a:ext>
            </a:extLst>
          </p:cNvPr>
          <p:cNvCxnSpPr/>
          <p:nvPr/>
        </p:nvCxnSpPr>
        <p:spPr bwMode="auto">
          <a:xfrm>
            <a:off x="2590800" y="1066800"/>
            <a:ext cx="0" cy="5334000"/>
          </a:xfrm>
          <a:prstGeom prst="line">
            <a:avLst/>
          </a:prstGeom>
          <a:solidFill>
            <a:srgbClr val="5B7893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EDB5431-240D-4E8C-9817-7DC2BB3AEE6E}"/>
              </a:ext>
            </a:extLst>
          </p:cNvPr>
          <p:cNvCxnSpPr/>
          <p:nvPr/>
        </p:nvCxnSpPr>
        <p:spPr bwMode="auto">
          <a:xfrm>
            <a:off x="3352800" y="4667946"/>
            <a:ext cx="762000" cy="0"/>
          </a:xfrm>
          <a:prstGeom prst="line">
            <a:avLst/>
          </a:prstGeom>
          <a:solidFill>
            <a:srgbClr val="5B7893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980B13C-3BE8-4EC8-B625-C80E0C0B3499}"/>
              </a:ext>
            </a:extLst>
          </p:cNvPr>
          <p:cNvCxnSpPr/>
          <p:nvPr/>
        </p:nvCxnSpPr>
        <p:spPr bwMode="auto">
          <a:xfrm>
            <a:off x="7315200" y="4800600"/>
            <a:ext cx="762000" cy="0"/>
          </a:xfrm>
          <a:prstGeom prst="line">
            <a:avLst/>
          </a:prstGeom>
          <a:solidFill>
            <a:srgbClr val="5B7893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5F1402F-A486-4130-A6C6-65271E8E30DC}"/>
              </a:ext>
            </a:extLst>
          </p:cNvPr>
          <p:cNvCxnSpPr>
            <a:cxnSpLocks/>
          </p:cNvCxnSpPr>
          <p:nvPr/>
        </p:nvCxnSpPr>
        <p:spPr bwMode="auto">
          <a:xfrm flipV="1">
            <a:off x="8305800" y="4903515"/>
            <a:ext cx="762000" cy="18903"/>
          </a:xfrm>
          <a:prstGeom prst="line">
            <a:avLst/>
          </a:prstGeom>
          <a:solidFill>
            <a:srgbClr val="5B7893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F5A7246-3CE2-4070-A50C-A01BBF2D28B5}"/>
              </a:ext>
            </a:extLst>
          </p:cNvPr>
          <p:cNvCxnSpPr/>
          <p:nvPr/>
        </p:nvCxnSpPr>
        <p:spPr bwMode="auto">
          <a:xfrm>
            <a:off x="7848600" y="1676400"/>
            <a:ext cx="762000" cy="0"/>
          </a:xfrm>
          <a:prstGeom prst="line">
            <a:avLst/>
          </a:prstGeom>
          <a:solidFill>
            <a:srgbClr val="5B7893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9593778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85800" y="228600"/>
            <a:ext cx="8534400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300" b="1" dirty="0">
                <a:solidFill>
                  <a:srgbClr val="1F497D"/>
                </a:solidFill>
              </a:rPr>
              <a:t>TRC and Policy Goals. Round 4 – Achieving Savings Goal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87A95FB-3432-4EBD-ACC7-118643DA2292}"/>
              </a:ext>
            </a:extLst>
          </p:cNvPr>
          <p:cNvSpPr/>
          <p:nvPr/>
        </p:nvSpPr>
        <p:spPr bwMode="auto">
          <a:xfrm>
            <a:off x="0" y="6629399"/>
            <a:ext cx="1828800" cy="22860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33333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BF90367-60F8-4D0D-A83F-27563C0474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0" y="1066800"/>
            <a:ext cx="8610600" cy="3810000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900"/>
              </a:spcAft>
            </a:pPr>
            <a:r>
              <a:rPr lang="en-US" sz="2600" b="0" dirty="0">
                <a:solidFill>
                  <a:schemeClr val="tx2"/>
                </a:solidFill>
                <a:latin typeface="Calibri" panose="020F0502020204030204" pitchFamily="34" charset="0"/>
              </a:rPr>
              <a:t>Energy efficiency is changing. Meeting portfolio savings targets and SB 350 goals now requires:</a:t>
            </a:r>
          </a:p>
          <a:p>
            <a:pPr marL="742950" lvl="1" indent="-457200">
              <a:spcBef>
                <a:spcPts val="0"/>
              </a:spcBef>
              <a:spcAft>
                <a:spcPts val="600"/>
              </a:spcAft>
            </a:pPr>
            <a:r>
              <a:rPr lang="en-US" sz="2200" b="0" i="1" dirty="0">
                <a:solidFill>
                  <a:schemeClr val="tx2"/>
                </a:solidFill>
                <a:latin typeface="Calibri" panose="020F0502020204030204" pitchFamily="34" charset="0"/>
              </a:rPr>
              <a:t>More holistic programs and less reliance on “widgets”</a:t>
            </a:r>
          </a:p>
          <a:p>
            <a:pPr marL="742950" lvl="1" indent="-457200">
              <a:spcBef>
                <a:spcPts val="0"/>
              </a:spcBef>
              <a:spcAft>
                <a:spcPts val="600"/>
              </a:spcAft>
            </a:pPr>
            <a:r>
              <a:rPr lang="en-US" sz="2200" b="0" i="1" dirty="0">
                <a:solidFill>
                  <a:schemeClr val="tx2"/>
                </a:solidFill>
                <a:latin typeface="Calibri" panose="020F0502020204030204" pitchFamily="34" charset="0"/>
              </a:rPr>
              <a:t>Growth of financing and pay-for-performance programs</a:t>
            </a:r>
          </a:p>
          <a:p>
            <a:pPr marL="742950" lvl="1" indent="-457200">
              <a:spcBef>
                <a:spcPts val="0"/>
              </a:spcBef>
              <a:spcAft>
                <a:spcPts val="600"/>
              </a:spcAft>
            </a:pPr>
            <a:r>
              <a:rPr lang="en-US" sz="2200" i="1" dirty="0">
                <a:solidFill>
                  <a:schemeClr val="tx2"/>
                </a:solidFill>
                <a:latin typeface="Calibri" panose="020F0502020204030204" pitchFamily="34" charset="0"/>
              </a:rPr>
              <a:t>Leveraging private investment with incentive dollars</a:t>
            </a:r>
            <a:endParaRPr lang="en-US" sz="2200" b="0" i="1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742950" lvl="1" indent="-457200">
              <a:spcBef>
                <a:spcPts val="0"/>
              </a:spcBef>
              <a:spcAft>
                <a:spcPts val="600"/>
              </a:spcAft>
            </a:pPr>
            <a:r>
              <a:rPr lang="en-US" sz="2200" i="1" dirty="0">
                <a:solidFill>
                  <a:schemeClr val="tx2"/>
                </a:solidFill>
                <a:latin typeface="Calibri" panose="020F0502020204030204" pitchFamily="34" charset="0"/>
              </a:rPr>
              <a:t>Deploying new technologies, including energy management systems</a:t>
            </a:r>
          </a:p>
          <a:p>
            <a:pPr marL="742950" lvl="1" indent="-457200">
              <a:spcBef>
                <a:spcPts val="0"/>
              </a:spcBef>
              <a:spcAft>
                <a:spcPts val="600"/>
              </a:spcAft>
            </a:pPr>
            <a:r>
              <a:rPr lang="en-US" sz="2200" b="0" i="1" dirty="0">
                <a:solidFill>
                  <a:schemeClr val="tx2"/>
                </a:solidFill>
                <a:latin typeface="Calibri" panose="020F0502020204030204" pitchFamily="34" charset="0"/>
              </a:rPr>
              <a:t>Moving markets</a:t>
            </a:r>
          </a:p>
          <a:p>
            <a:pPr marL="742950" lvl="1" indent="-457200">
              <a:spcBef>
                <a:spcPts val="0"/>
              </a:spcBef>
              <a:spcAft>
                <a:spcPts val="600"/>
              </a:spcAft>
            </a:pPr>
            <a:r>
              <a:rPr lang="en-US" sz="2200" i="1" dirty="0">
                <a:solidFill>
                  <a:schemeClr val="tx2"/>
                </a:solidFill>
                <a:latin typeface="Calibri" panose="020F0502020204030204" pitchFamily="34" charset="0"/>
              </a:rPr>
              <a:t>Integration with other distributed energy resources</a:t>
            </a:r>
          </a:p>
          <a:p>
            <a:pPr marL="742950" lvl="1" indent="-457200">
              <a:spcBef>
                <a:spcPts val="0"/>
              </a:spcBef>
              <a:spcAft>
                <a:spcPts val="800"/>
              </a:spcAft>
            </a:pPr>
            <a:r>
              <a:rPr lang="en-US" sz="2200" b="0" i="1" dirty="0">
                <a:solidFill>
                  <a:schemeClr val="tx2"/>
                </a:solidFill>
                <a:latin typeface="Calibri" panose="020F0502020204030204" pitchFamily="34" charset="0"/>
              </a:rPr>
              <a:t>Investment in the workforc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4BF70823-D74D-44DC-9B3E-F56309C00D15}"/>
              </a:ext>
            </a:extLst>
          </p:cNvPr>
          <p:cNvSpPr txBox="1">
            <a:spLocks/>
          </p:cNvSpPr>
          <p:nvPr/>
        </p:nvSpPr>
        <p:spPr bwMode="auto">
          <a:xfrm>
            <a:off x="228600" y="4953000"/>
            <a:ext cx="8496300" cy="190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25000"/>
              </a:spcBef>
              <a:spcAft>
                <a:spcPct val="20000"/>
              </a:spcAft>
              <a:defRPr b="1">
                <a:solidFill>
                  <a:srgbClr val="333333"/>
                </a:solidFill>
                <a:latin typeface="+mn-lt"/>
                <a:ea typeface="+mn-ea"/>
                <a:cs typeface="+mn-cs"/>
              </a:defRPr>
            </a:lvl1pPr>
            <a:lvl2pPr marL="285750" indent="-171450" algn="l" rtl="0" eaLnBrk="0" fontAlgn="base" hangingPunct="0">
              <a:spcBef>
                <a:spcPct val="25000"/>
              </a:spcBef>
              <a:spcAft>
                <a:spcPct val="20000"/>
              </a:spcAft>
              <a:buClr>
                <a:srgbClr val="006699"/>
              </a:buClr>
              <a:buSzPct val="100000"/>
              <a:buFont typeface="Arial" pitchFamily="34" charset="0"/>
              <a:buChar char="•"/>
              <a:defRPr sz="1600">
                <a:solidFill>
                  <a:srgbClr val="333333"/>
                </a:solidFill>
                <a:latin typeface="+mn-lt"/>
                <a:ea typeface="+mn-ea"/>
              </a:defRPr>
            </a:lvl2pPr>
            <a:lvl3pPr marL="574675" indent="-174625" algn="l" rtl="0" eaLnBrk="0" fontAlgn="base" hangingPunct="0">
              <a:spcBef>
                <a:spcPct val="25000"/>
              </a:spcBef>
              <a:spcAft>
                <a:spcPct val="20000"/>
              </a:spcAft>
              <a:buClr>
                <a:srgbClr val="006699"/>
              </a:buClr>
              <a:buFont typeface="Symbol" pitchFamily="18" charset="2"/>
              <a:buChar char=""/>
              <a:defRPr sz="1400">
                <a:solidFill>
                  <a:srgbClr val="333333"/>
                </a:solidFill>
                <a:latin typeface="+mn-lt"/>
                <a:ea typeface="+mn-ea"/>
              </a:defRPr>
            </a:lvl3pPr>
            <a:lvl4pPr marL="855663" indent="-166688" algn="l" rtl="0" eaLnBrk="0" fontAlgn="base" hangingPunct="0">
              <a:spcBef>
                <a:spcPct val="25000"/>
              </a:spcBef>
              <a:spcAft>
                <a:spcPct val="20000"/>
              </a:spcAft>
              <a:buClr>
                <a:srgbClr val="006699"/>
              </a:buClr>
              <a:buSzPct val="100000"/>
              <a:buFont typeface="Arial" pitchFamily="34" charset="0"/>
              <a:buChar char="•"/>
              <a:defRPr sz="1200">
                <a:solidFill>
                  <a:srgbClr val="333333"/>
                </a:solidFill>
                <a:latin typeface="+mn-lt"/>
                <a:ea typeface="+mn-ea"/>
              </a:defRPr>
            </a:lvl4pPr>
            <a:lvl5pPr marL="1143000" indent="-173038" algn="l" rtl="0" eaLnBrk="0" fontAlgn="base" hangingPunct="0">
              <a:spcBef>
                <a:spcPct val="25000"/>
              </a:spcBef>
              <a:spcAft>
                <a:spcPct val="20000"/>
              </a:spcAft>
              <a:buClr>
                <a:srgbClr val="006699"/>
              </a:buClr>
              <a:buFont typeface="Symbol" pitchFamily="18" charset="2"/>
              <a:buChar char=""/>
              <a:defRPr sz="1000">
                <a:solidFill>
                  <a:srgbClr val="333333"/>
                </a:solidFill>
                <a:latin typeface="+mn-lt"/>
                <a:ea typeface="+mn-ea"/>
              </a:defRPr>
            </a:lvl5pPr>
            <a:lvl6pPr marL="1600200" indent="-173038" algn="l" rtl="0" eaLnBrk="1" fontAlgn="base" hangingPunct="1">
              <a:spcBef>
                <a:spcPct val="25000"/>
              </a:spcBef>
              <a:spcAft>
                <a:spcPct val="20000"/>
              </a:spcAft>
              <a:buClr>
                <a:srgbClr val="999999"/>
              </a:buClr>
              <a:buFont typeface="Symbol" pitchFamily="18" charset="2"/>
              <a:buChar char=""/>
              <a:defRPr sz="1000">
                <a:solidFill>
                  <a:srgbClr val="333333"/>
                </a:solidFill>
                <a:latin typeface="+mn-lt"/>
                <a:ea typeface="+mn-ea"/>
              </a:defRPr>
            </a:lvl6pPr>
            <a:lvl7pPr marL="2057400" indent="-173038" algn="l" rtl="0" eaLnBrk="1" fontAlgn="base" hangingPunct="1">
              <a:spcBef>
                <a:spcPct val="25000"/>
              </a:spcBef>
              <a:spcAft>
                <a:spcPct val="20000"/>
              </a:spcAft>
              <a:buClr>
                <a:srgbClr val="999999"/>
              </a:buClr>
              <a:buFont typeface="Symbol" pitchFamily="18" charset="2"/>
              <a:buChar char=""/>
              <a:defRPr sz="1000">
                <a:solidFill>
                  <a:srgbClr val="333333"/>
                </a:solidFill>
                <a:latin typeface="+mn-lt"/>
                <a:ea typeface="+mn-ea"/>
              </a:defRPr>
            </a:lvl7pPr>
            <a:lvl8pPr marL="2514600" indent="-173038" algn="l" rtl="0" eaLnBrk="1" fontAlgn="base" hangingPunct="1">
              <a:spcBef>
                <a:spcPct val="25000"/>
              </a:spcBef>
              <a:spcAft>
                <a:spcPct val="20000"/>
              </a:spcAft>
              <a:buClr>
                <a:srgbClr val="999999"/>
              </a:buClr>
              <a:buFont typeface="Symbol" pitchFamily="18" charset="2"/>
              <a:buChar char=""/>
              <a:defRPr sz="1000">
                <a:solidFill>
                  <a:srgbClr val="333333"/>
                </a:solidFill>
                <a:latin typeface="+mn-lt"/>
                <a:ea typeface="+mn-ea"/>
              </a:defRPr>
            </a:lvl8pPr>
            <a:lvl9pPr marL="2971800" indent="-173038" algn="l" rtl="0" eaLnBrk="1" fontAlgn="base" hangingPunct="1">
              <a:spcBef>
                <a:spcPct val="25000"/>
              </a:spcBef>
              <a:spcAft>
                <a:spcPct val="20000"/>
              </a:spcAft>
              <a:buClr>
                <a:srgbClr val="999999"/>
              </a:buClr>
              <a:buFont typeface="Symbol" pitchFamily="18" charset="2"/>
              <a:buChar char=""/>
              <a:defRPr sz="100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>
              <a:spcBef>
                <a:spcPts val="0"/>
              </a:spcBef>
              <a:spcAft>
                <a:spcPts val="900"/>
              </a:spcAft>
            </a:pPr>
            <a:r>
              <a:rPr lang="en-US" sz="2600" b="0" kern="0" dirty="0">
                <a:solidFill>
                  <a:schemeClr val="tx2"/>
                </a:solidFill>
                <a:latin typeface="Calibri" panose="020F0502020204030204" pitchFamily="34" charset="0"/>
              </a:rPr>
              <a:t>Meeting TRC targets requires a narrowed portfolio focused on:</a:t>
            </a:r>
          </a:p>
          <a:p>
            <a:pPr marL="742950" lvl="1" indent="-457200">
              <a:spcBef>
                <a:spcPts val="0"/>
              </a:spcBef>
              <a:spcAft>
                <a:spcPts val="600"/>
              </a:spcAft>
            </a:pPr>
            <a:r>
              <a:rPr lang="en-US" sz="2200" i="1" dirty="0">
                <a:solidFill>
                  <a:schemeClr val="tx2"/>
                </a:solidFill>
                <a:latin typeface="Calibri" panose="020F0502020204030204" pitchFamily="34" charset="0"/>
              </a:rPr>
              <a:t>Low cost savings</a:t>
            </a:r>
          </a:p>
          <a:p>
            <a:pPr marL="742950" lvl="1" indent="-457200">
              <a:spcBef>
                <a:spcPts val="0"/>
              </a:spcBef>
              <a:spcAft>
                <a:spcPts val="600"/>
              </a:spcAft>
            </a:pPr>
            <a:r>
              <a:rPr lang="en-US" sz="2200" i="1" dirty="0">
                <a:solidFill>
                  <a:schemeClr val="tx2"/>
                </a:solidFill>
                <a:latin typeface="Calibri" panose="020F0502020204030204" pitchFamily="34" charset="0"/>
              </a:rPr>
              <a:t>Established technologies</a:t>
            </a:r>
          </a:p>
          <a:p>
            <a:pPr marL="742950" lvl="1" indent="-457200">
              <a:spcBef>
                <a:spcPts val="0"/>
              </a:spcBef>
              <a:spcAft>
                <a:spcPts val="800"/>
              </a:spcAft>
            </a:pPr>
            <a:r>
              <a:rPr lang="en-US" sz="2200" i="1" dirty="0">
                <a:solidFill>
                  <a:schemeClr val="tx2"/>
                </a:solidFill>
                <a:latin typeface="Calibri" panose="020F0502020204030204" pitchFamily="34" charset="0"/>
              </a:rPr>
              <a:t>Easy-to-Reach customers</a:t>
            </a:r>
          </a:p>
          <a:p>
            <a:pPr marL="742950" lvl="1" indent="-457200">
              <a:spcBef>
                <a:spcPts val="0"/>
              </a:spcBef>
              <a:spcAft>
                <a:spcPts val="800"/>
              </a:spcAft>
            </a:pPr>
            <a:endParaRPr lang="en-US" sz="22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>
              <a:spcBef>
                <a:spcPts val="0"/>
              </a:spcBef>
              <a:spcAft>
                <a:spcPts val="1200"/>
              </a:spcAft>
            </a:pPr>
            <a:endParaRPr lang="en-US" sz="2700" b="0" kern="0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09219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0" y="2743200"/>
            <a:ext cx="6734175" cy="609600"/>
          </a:xfrm>
        </p:spPr>
        <p:txBody>
          <a:bodyPr>
            <a:normAutofit/>
          </a:bodyPr>
          <a:lstStyle/>
          <a:p>
            <a:r>
              <a:rPr lang="en-US" sz="3600" dirty="0">
                <a:latin typeface="Calibri"/>
                <a:cs typeface="Times New Roman"/>
              </a:rPr>
              <a:t>Q&amp;A and Discus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02875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0" y="2743200"/>
            <a:ext cx="6734175" cy="609600"/>
          </a:xfrm>
        </p:spPr>
        <p:txBody>
          <a:bodyPr>
            <a:normAutofit/>
          </a:bodyPr>
          <a:lstStyle/>
          <a:p>
            <a:r>
              <a:rPr lang="en-US" sz="3600" dirty="0">
                <a:latin typeface="Calibri"/>
                <a:cs typeface="Times New Roman"/>
              </a:rPr>
              <a:t>Appendi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23826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62000" y="228600"/>
            <a:ext cx="7620000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300" b="1" dirty="0">
                <a:solidFill>
                  <a:srgbClr val="1F497D"/>
                </a:solidFill>
              </a:rPr>
              <a:t>Important Acronym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87A95FB-3432-4EBD-ACC7-118643DA2292}"/>
              </a:ext>
            </a:extLst>
          </p:cNvPr>
          <p:cNvSpPr/>
          <p:nvPr/>
        </p:nvSpPr>
        <p:spPr bwMode="auto">
          <a:xfrm>
            <a:off x="0" y="6629399"/>
            <a:ext cx="1828800" cy="22860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33333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EFE300A-43B3-4739-93E5-D5A2881CF672}"/>
              </a:ext>
            </a:extLst>
          </p:cNvPr>
          <p:cNvSpPr txBox="1"/>
          <p:nvPr/>
        </p:nvSpPr>
        <p:spPr>
          <a:xfrm>
            <a:off x="228600" y="990600"/>
            <a:ext cx="8686800" cy="5850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500"/>
              </a:spcAft>
            </a:pPr>
            <a:r>
              <a:rPr lang="en-US" sz="2000" b="1" dirty="0">
                <a:solidFill>
                  <a:srgbClr val="1F497D"/>
                </a:solidFill>
                <a:latin typeface="Calibri" panose="020F0502020204030204" pitchFamily="34" charset="0"/>
              </a:rPr>
              <a:t>DAC = </a:t>
            </a:r>
            <a:r>
              <a:rPr lang="en-US" sz="2000" dirty="0">
                <a:solidFill>
                  <a:srgbClr val="1F497D"/>
                </a:solidFill>
                <a:latin typeface="Calibri" panose="020F0502020204030204" pitchFamily="34" charset="0"/>
              </a:rPr>
              <a:t>Disadvantaged Community</a:t>
            </a:r>
            <a:endParaRPr lang="en-US" sz="2000" b="1" dirty="0">
              <a:solidFill>
                <a:srgbClr val="1F497D"/>
              </a:solidFill>
              <a:latin typeface="Calibri" panose="020F0502020204030204" pitchFamily="34" charset="0"/>
            </a:endParaRPr>
          </a:p>
          <a:p>
            <a:pPr>
              <a:spcAft>
                <a:spcPts val="500"/>
              </a:spcAft>
            </a:pPr>
            <a:r>
              <a:rPr lang="en-US" sz="2000" b="1" dirty="0">
                <a:solidFill>
                  <a:srgbClr val="1F497D"/>
                </a:solidFill>
                <a:latin typeface="Calibri" panose="020F0502020204030204" pitchFamily="34" charset="0"/>
              </a:rPr>
              <a:t>DI = </a:t>
            </a:r>
            <a:r>
              <a:rPr lang="en-US" sz="2000" dirty="0">
                <a:solidFill>
                  <a:srgbClr val="1F497D"/>
                </a:solidFill>
                <a:latin typeface="Calibri" panose="020F0502020204030204" pitchFamily="34" charset="0"/>
              </a:rPr>
              <a:t>Direct Install</a:t>
            </a:r>
          </a:p>
          <a:p>
            <a:pPr>
              <a:spcAft>
                <a:spcPts val="500"/>
              </a:spcAft>
            </a:pPr>
            <a:r>
              <a:rPr lang="en-US" sz="2000" b="1" dirty="0">
                <a:solidFill>
                  <a:srgbClr val="1F497D"/>
                </a:solidFill>
                <a:latin typeface="Calibri" panose="020F0502020204030204" pitchFamily="34" charset="0"/>
              </a:rPr>
              <a:t>EM&amp;V = </a:t>
            </a:r>
            <a:r>
              <a:rPr lang="en-US" sz="2000" dirty="0">
                <a:solidFill>
                  <a:srgbClr val="1F497D"/>
                </a:solidFill>
                <a:latin typeface="Calibri" panose="020F0502020204030204" pitchFamily="34" charset="0"/>
              </a:rPr>
              <a:t>Evaluation, Measurement, and Verification</a:t>
            </a:r>
          </a:p>
          <a:p>
            <a:pPr>
              <a:spcAft>
                <a:spcPts val="500"/>
              </a:spcAft>
            </a:pPr>
            <a:r>
              <a:rPr lang="en-US" sz="2000" b="1" dirty="0">
                <a:solidFill>
                  <a:srgbClr val="1F497D"/>
                </a:solidFill>
                <a:latin typeface="Calibri" panose="020F0502020204030204" pitchFamily="34" charset="0"/>
              </a:rPr>
              <a:t>EUL = </a:t>
            </a:r>
            <a:r>
              <a:rPr lang="en-US" sz="2000" dirty="0">
                <a:solidFill>
                  <a:srgbClr val="1F497D"/>
                </a:solidFill>
                <a:latin typeface="Calibri" panose="020F0502020204030204" pitchFamily="34" charset="0"/>
              </a:rPr>
              <a:t>Effective Useful Life</a:t>
            </a:r>
          </a:p>
          <a:p>
            <a:pPr>
              <a:spcAft>
                <a:spcPts val="500"/>
              </a:spcAft>
            </a:pPr>
            <a:r>
              <a:rPr lang="en-US" sz="2000" b="1" dirty="0">
                <a:solidFill>
                  <a:srgbClr val="1F497D"/>
                </a:solidFill>
                <a:latin typeface="Calibri" panose="020F0502020204030204" pitchFamily="34" charset="0"/>
              </a:rPr>
              <a:t>ESPI = </a:t>
            </a:r>
            <a:r>
              <a:rPr lang="en-US" sz="2000" dirty="0">
                <a:solidFill>
                  <a:srgbClr val="1F497D"/>
                </a:solidFill>
                <a:latin typeface="Calibri" panose="020F0502020204030204" pitchFamily="34" charset="0"/>
              </a:rPr>
              <a:t>Energy Savings Performance Incentive (PA Shareholder Incentive)</a:t>
            </a:r>
          </a:p>
          <a:p>
            <a:pPr>
              <a:spcAft>
                <a:spcPts val="500"/>
              </a:spcAft>
            </a:pPr>
            <a:r>
              <a:rPr lang="en-US" sz="2000" b="1" dirty="0">
                <a:solidFill>
                  <a:srgbClr val="1F497D"/>
                </a:solidFill>
                <a:latin typeface="Calibri" panose="020F0502020204030204" pitchFamily="34" charset="0"/>
              </a:rPr>
              <a:t>HTR = </a:t>
            </a:r>
            <a:r>
              <a:rPr lang="en-US" sz="2000" dirty="0">
                <a:solidFill>
                  <a:srgbClr val="1F497D"/>
                </a:solidFill>
                <a:latin typeface="Calibri" panose="020F0502020204030204" pitchFamily="34" charset="0"/>
              </a:rPr>
              <a:t>Hard to Reach customer</a:t>
            </a:r>
          </a:p>
          <a:p>
            <a:pPr>
              <a:spcAft>
                <a:spcPts val="500"/>
              </a:spcAft>
            </a:pPr>
            <a:r>
              <a:rPr lang="en-US" sz="2000" b="1" dirty="0">
                <a:solidFill>
                  <a:srgbClr val="1F497D"/>
                </a:solidFill>
                <a:latin typeface="Calibri" panose="020F0502020204030204" pitchFamily="34" charset="0"/>
              </a:rPr>
              <a:t>IDSM = </a:t>
            </a:r>
            <a:r>
              <a:rPr lang="en-US" sz="2000" dirty="0">
                <a:solidFill>
                  <a:srgbClr val="1F497D"/>
                </a:solidFill>
                <a:latin typeface="Calibri" panose="020F0502020204030204" pitchFamily="34" charset="0"/>
              </a:rPr>
              <a:t>Integrated Demand Side Management</a:t>
            </a:r>
          </a:p>
          <a:p>
            <a:pPr>
              <a:spcAft>
                <a:spcPts val="500"/>
              </a:spcAft>
            </a:pPr>
            <a:r>
              <a:rPr lang="en-US" sz="2000" b="1" dirty="0">
                <a:solidFill>
                  <a:srgbClr val="1F497D"/>
                </a:solidFill>
                <a:latin typeface="Calibri" panose="020F0502020204030204" pitchFamily="34" charset="0"/>
              </a:rPr>
              <a:t>MC = </a:t>
            </a:r>
            <a:r>
              <a:rPr lang="en-US" sz="2000" dirty="0">
                <a:solidFill>
                  <a:srgbClr val="1F497D"/>
                </a:solidFill>
                <a:latin typeface="Calibri" panose="020F0502020204030204" pitchFamily="34" charset="0"/>
              </a:rPr>
              <a:t>Measure Cost. MC = Incremental Measure Cost (IMC) for replace-on-burnout or Full Measure Cost (FMC) for Early Retirement (ER) or programs based on Normalized Metered Energy Consumption (NMEC).</a:t>
            </a:r>
          </a:p>
          <a:p>
            <a:pPr>
              <a:spcAft>
                <a:spcPts val="500"/>
              </a:spcAft>
            </a:pPr>
            <a:r>
              <a:rPr lang="en-US" sz="2000" b="1" dirty="0">
                <a:solidFill>
                  <a:srgbClr val="1F497D"/>
                </a:solidFill>
                <a:latin typeface="Calibri" panose="020F0502020204030204" pitchFamily="34" charset="0"/>
              </a:rPr>
              <a:t>NPV = </a:t>
            </a:r>
            <a:r>
              <a:rPr lang="en-US" sz="2000" dirty="0">
                <a:solidFill>
                  <a:srgbClr val="1F497D"/>
                </a:solidFill>
                <a:latin typeface="Calibri" panose="020F0502020204030204" pitchFamily="34" charset="0"/>
              </a:rPr>
              <a:t>Net Present Value</a:t>
            </a:r>
          </a:p>
          <a:p>
            <a:pPr>
              <a:spcAft>
                <a:spcPts val="500"/>
              </a:spcAft>
            </a:pPr>
            <a:r>
              <a:rPr lang="en-US" sz="2000" b="1" dirty="0">
                <a:solidFill>
                  <a:srgbClr val="1F497D"/>
                </a:solidFill>
                <a:latin typeface="Calibri" panose="020F0502020204030204" pitchFamily="34" charset="0"/>
              </a:rPr>
              <a:t>NTG = </a:t>
            </a:r>
            <a:r>
              <a:rPr lang="en-US" sz="2000" dirty="0">
                <a:solidFill>
                  <a:srgbClr val="1F497D"/>
                </a:solidFill>
                <a:latin typeface="Calibri" panose="020F0502020204030204" pitchFamily="34" charset="0"/>
              </a:rPr>
              <a:t>Net-to-Gross Ratio </a:t>
            </a:r>
          </a:p>
          <a:p>
            <a:pPr>
              <a:spcAft>
                <a:spcPts val="500"/>
              </a:spcAft>
            </a:pPr>
            <a:r>
              <a:rPr lang="en-US" sz="2000" b="1" dirty="0">
                <a:solidFill>
                  <a:srgbClr val="1F497D"/>
                </a:solidFill>
                <a:latin typeface="Calibri" panose="020F0502020204030204" pitchFamily="34" charset="0"/>
              </a:rPr>
              <a:t>PAC = </a:t>
            </a:r>
            <a:r>
              <a:rPr lang="en-US" sz="2000" dirty="0">
                <a:solidFill>
                  <a:srgbClr val="1F497D"/>
                </a:solidFill>
                <a:latin typeface="Calibri" panose="020F0502020204030204" pitchFamily="34" charset="0"/>
              </a:rPr>
              <a:t>Program Administrator Cost Test</a:t>
            </a:r>
          </a:p>
          <a:p>
            <a:pPr>
              <a:spcAft>
                <a:spcPts val="500"/>
              </a:spcAft>
            </a:pPr>
            <a:r>
              <a:rPr lang="en-US" sz="2000" b="1" dirty="0">
                <a:solidFill>
                  <a:srgbClr val="1F497D"/>
                </a:solidFill>
                <a:latin typeface="Calibri" panose="020F0502020204030204" pitchFamily="34" charset="0"/>
              </a:rPr>
              <a:t>SW ME&amp;O = </a:t>
            </a:r>
            <a:r>
              <a:rPr lang="en-US" sz="2000" dirty="0">
                <a:solidFill>
                  <a:srgbClr val="1F497D"/>
                </a:solidFill>
                <a:latin typeface="Calibri" panose="020F0502020204030204" pitchFamily="34" charset="0"/>
              </a:rPr>
              <a:t>Statewide Marketing, Education, and Outreach</a:t>
            </a:r>
            <a:endParaRPr lang="en-US" sz="2000" b="1" dirty="0">
              <a:solidFill>
                <a:srgbClr val="1F497D"/>
              </a:solidFill>
              <a:latin typeface="Calibri" panose="020F0502020204030204" pitchFamily="34" charset="0"/>
            </a:endParaRPr>
          </a:p>
          <a:p>
            <a:pPr>
              <a:spcAft>
                <a:spcPts val="500"/>
              </a:spcAft>
            </a:pPr>
            <a:r>
              <a:rPr lang="en-US" sz="2000" b="1" dirty="0">
                <a:solidFill>
                  <a:srgbClr val="1F497D"/>
                </a:solidFill>
                <a:latin typeface="Calibri" panose="020F0502020204030204" pitchFamily="34" charset="0"/>
              </a:rPr>
              <a:t>TRC = </a:t>
            </a:r>
            <a:r>
              <a:rPr lang="en-US" sz="2000" dirty="0">
                <a:solidFill>
                  <a:srgbClr val="1F497D"/>
                </a:solidFill>
                <a:latin typeface="Calibri" panose="020F0502020204030204" pitchFamily="34" charset="0"/>
              </a:rPr>
              <a:t>Total Resource Cost Test</a:t>
            </a:r>
          </a:p>
          <a:p>
            <a:pPr>
              <a:spcAft>
                <a:spcPts val="500"/>
              </a:spcAft>
            </a:pPr>
            <a:r>
              <a:rPr lang="en-US" sz="2000" b="1" dirty="0">
                <a:solidFill>
                  <a:srgbClr val="1F497D"/>
                </a:solidFill>
                <a:latin typeface="Calibri" panose="020F0502020204030204" pitchFamily="34" charset="0"/>
              </a:rPr>
              <a:t>WE&amp;T = </a:t>
            </a:r>
            <a:r>
              <a:rPr lang="en-US" sz="2000" dirty="0">
                <a:solidFill>
                  <a:srgbClr val="1F497D"/>
                </a:solidFill>
                <a:latin typeface="Calibri" panose="020F0502020204030204" pitchFamily="34" charset="0"/>
              </a:rPr>
              <a:t>Workforce Education and Training</a:t>
            </a:r>
          </a:p>
        </p:txBody>
      </p:sp>
    </p:spTree>
    <p:extLst>
      <p:ext uri="{BB962C8B-B14F-4D97-AF65-F5344CB8AC3E}">
        <p14:creationId xmlns:p14="http://schemas.microsoft.com/office/powerpoint/2010/main" val="37549952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auto">
          <a:xfrm>
            <a:off x="152400" y="6503692"/>
            <a:ext cx="2459494" cy="35430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399" y="152400"/>
            <a:ext cx="8077201" cy="642938"/>
          </a:xfrm>
        </p:spPr>
        <p:txBody>
          <a:bodyPr/>
          <a:lstStyle/>
          <a:p>
            <a:pPr algn="l"/>
            <a:r>
              <a:rPr lang="en-US" sz="2800" dirty="0">
                <a:solidFill>
                  <a:schemeClr val="tx2"/>
                </a:solidFill>
              </a:rPr>
              <a:t>The TRC and PAC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D4247B97-87A7-4EF5-925E-F5DFB14AD25D}"/>
                  </a:ext>
                </a:extLst>
              </p:cNvPr>
              <p:cNvSpPr/>
              <p:nvPr/>
            </p:nvSpPr>
            <p:spPr>
              <a:xfrm>
                <a:off x="0" y="1981200"/>
                <a:ext cx="9067800" cy="91621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kumimoji="0" lang="en-US" sz="13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1F497D"/>
                          </a:solidFill>
                          <a:effectLst/>
                          <a:uLnTx/>
                          <a:uFillTx/>
                          <a:latin typeface="Cambria Math"/>
                          <a:ea typeface="+mn-ea"/>
                          <a:cs typeface="+mn-cs"/>
                        </a:rPr>
                        <m:t>𝑇𝑅𝐶</m:t>
                      </m:r>
                      <m:r>
                        <a:rPr kumimoji="0" lang="en-US" sz="13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1F497D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=</m:t>
                      </m:r>
                    </m:oMath>
                  </m:oMathPara>
                </a14:m>
                <a:endParaRPr kumimoji="0" lang="en-US" sz="1300" b="0" i="1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mbria Math" panose="02040503050406030204" pitchFamily="18" charset="0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00" b="0" i="1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mbria Math" panose="02040503050406030204" pitchFamily="18" charset="0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en-US" sz="12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fPr>
                        <m:num>
                          <m:r>
                            <a:rPr kumimoji="0" lang="en-US" sz="12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𝑁𝑃𝑉</m:t>
                          </m:r>
                          <m:r>
                            <a:rPr kumimoji="0" lang="en-US" sz="12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 </m:t>
                          </m:r>
                          <m:r>
                            <a:rPr kumimoji="0" lang="en-US" sz="12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𝑜𝑓</m:t>
                          </m:r>
                          <m:r>
                            <a:rPr kumimoji="0" lang="en-US" sz="12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 </m:t>
                          </m:r>
                          <m:d>
                            <m:dPr>
                              <m:ctrlPr>
                                <a:rPr kumimoji="0" lang="en-US" sz="1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1F497D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</m:ctrlPr>
                            </m:dPr>
                            <m:e>
                              <m:r>
                                <a:rPr kumimoji="0" lang="en-US" sz="1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1F497D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𝑁𝑇𝐺</m:t>
                              </m:r>
                              <m:r>
                                <a:rPr kumimoji="0" lang="en-US" sz="1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1F497D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+</m:t>
                              </m:r>
                              <m:r>
                                <a:rPr kumimoji="0" lang="en-US" sz="1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1F497D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𝑀𝐸</m:t>
                              </m:r>
                            </m:e>
                          </m:d>
                          <m:r>
                            <a:rPr kumimoji="0" lang="en-US" sz="12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×</m:t>
                          </m:r>
                          <m:r>
                            <a:rPr kumimoji="0" lang="en-US" sz="12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𝐿𝑖𝑓𝑒𝑐𝑦𝑐𝑙𝑒</m:t>
                          </m:r>
                          <m:r>
                            <a:rPr kumimoji="0" lang="en-US" sz="12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 </m:t>
                          </m:r>
                          <m:r>
                            <a:rPr kumimoji="0" lang="en-U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𝐵𝑒𝑛𝑒𝑓𝑖𝑡𝑠</m:t>
                          </m:r>
                          <m:r>
                            <a:rPr kumimoji="0" lang="en-U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 </m:t>
                          </m:r>
                          <m:r>
                            <a:rPr kumimoji="0" lang="en-U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𝑜𝑓</m:t>
                          </m:r>
                          <m:r>
                            <a:rPr kumimoji="0" lang="en-U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 </m:t>
                          </m:r>
                          <m:r>
                            <a:rPr kumimoji="0" lang="en-U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𝐴𝑣𝑜𝑖𝑑𝑒𝑑</m:t>
                          </m:r>
                          <m:r>
                            <a:rPr kumimoji="0" lang="en-U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 </m:t>
                          </m:r>
                          <m:r>
                            <a:rPr kumimoji="0" lang="en-US" sz="12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𝐸𝑙𝑒𝑐𝑡𝑟𝑖𝑐𝑖𝑡𝑦</m:t>
                          </m:r>
                          <m:r>
                            <a:rPr kumimoji="0" lang="en-US" sz="12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 </m:t>
                          </m:r>
                          <m:r>
                            <a:rPr kumimoji="0" lang="en-US" sz="12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𝑎𝑛𝑑</m:t>
                          </m:r>
                          <m:r>
                            <a:rPr kumimoji="0" lang="en-US" sz="12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 </m:t>
                          </m:r>
                          <m:r>
                            <a:rPr kumimoji="0" lang="en-US" sz="12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𝐺𝑎𝑠</m:t>
                          </m:r>
                        </m:num>
                        <m:den>
                          <m:r>
                            <a:rPr kumimoji="0" lang="en-U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𝑁𝑃𝑉</m:t>
                          </m:r>
                          <m:r>
                            <a:rPr kumimoji="0" lang="en-U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 </m:t>
                          </m:r>
                          <m:r>
                            <a:rPr kumimoji="0" lang="en-U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𝑜𝑓</m:t>
                          </m:r>
                          <m:r>
                            <a:rPr kumimoji="0" lang="en-U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 </m:t>
                          </m:r>
                          <m:r>
                            <a:rPr kumimoji="0" lang="en-US" sz="12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𝐴𝑑𝑚𝑖𝑛</m:t>
                          </m:r>
                          <m:r>
                            <a:rPr kumimoji="0" lang="en-US" sz="12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+</m:t>
                          </m:r>
                          <m:r>
                            <a:rPr kumimoji="0" lang="en-US" sz="12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𝑀𝑎𝑟𝑘𝑒𝑡𝑖𝑛𝑔</m:t>
                          </m:r>
                          <m:r>
                            <a:rPr kumimoji="0" lang="en-US" sz="12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+</m:t>
                          </m:r>
                          <m:r>
                            <a:rPr kumimoji="0" lang="en-U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𝑁𝑜𝑛</m:t>
                          </m:r>
                          <m:r>
                            <a:rPr kumimoji="0" lang="en-U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−</m:t>
                          </m:r>
                          <m:r>
                            <a:rPr kumimoji="0" lang="en-U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𝑅𝑒𝑠𝑜𝑢𝑟𝑐𝑒</m:t>
                          </m:r>
                          <m:r>
                            <a:rPr kumimoji="0" lang="en-U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+</m:t>
                          </m:r>
                          <m:r>
                            <a:rPr kumimoji="0" lang="en-U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𝐸𝑆𝑃𝐼</m:t>
                          </m:r>
                          <m:r>
                            <a:rPr kumimoji="0" lang="en-U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+</m:t>
                          </m:r>
                          <m:r>
                            <a:rPr kumimoji="0" lang="en-US" sz="12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𝐼𝑚𝑝𝑙𝑒𝑚𝑒𝑛𝑡𝑎𝑡𝑖𝑜𝑛</m:t>
                          </m:r>
                          <m:r>
                            <a:rPr kumimoji="0" lang="en-US" sz="12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+</m:t>
                          </m:r>
                          <m:d>
                            <m:dPr>
                              <m:ctrlPr>
                                <a:rPr kumimoji="0" lang="en-US" sz="1200" b="0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1F497D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</m:ctrlPr>
                            </m:dPr>
                            <m:e>
                              <m:r>
                                <a:rPr kumimoji="0" lang="en-US" sz="1200" b="0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1F497D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1−</m:t>
                              </m:r>
                              <m:r>
                                <a:rPr kumimoji="0" lang="en-US" sz="1200" b="0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1F497D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𝑁𝑇𝐺</m:t>
                              </m:r>
                            </m:e>
                          </m:d>
                          <m:r>
                            <a:rPr kumimoji="0" lang="en-U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×</m:t>
                          </m:r>
                          <m:r>
                            <a:rPr kumimoji="0" lang="en-US" sz="12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𝐼𝑛𝑐𝑒𝑛𝑡𝑖𝑣𝑒𝑠</m:t>
                          </m:r>
                          <m:r>
                            <a:rPr kumimoji="0" lang="en-US" sz="12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+</m:t>
                          </m:r>
                          <m:r>
                            <a:rPr kumimoji="0" lang="en-U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𝑀𝑒𝑎𝑠𝑢𝑟𝑒</m:t>
                          </m:r>
                          <m:r>
                            <a:rPr kumimoji="0" lang="en-U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 </m:t>
                          </m:r>
                          <m:r>
                            <a:rPr kumimoji="0" lang="en-U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𝐶𝑜𝑠𝑡</m:t>
                          </m:r>
                          <m:r>
                            <a:rPr kumimoji="0" lang="en-U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×(</m:t>
                          </m:r>
                          <m:r>
                            <a:rPr kumimoji="0" lang="en-US" sz="12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𝑁𝑇𝐺</m:t>
                          </m:r>
                          <m:r>
                            <a:rPr kumimoji="0" lang="en-US" sz="12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+</m:t>
                          </m:r>
                          <m:r>
                            <a:rPr kumimoji="0" lang="en-U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𝑀𝐸</m:t>
                          </m:r>
                          <m:r>
                            <a:rPr kumimoji="0" lang="en-US" sz="12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1F497D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)</m:t>
                          </m:r>
                        </m:den>
                      </m:f>
                    </m:oMath>
                  </m:oMathPara>
                </a14:m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D4247B97-87A7-4EF5-925E-F5DFB14AD25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1981200"/>
                <a:ext cx="9067800" cy="916213"/>
              </a:xfrm>
              <a:prstGeom prst="rect">
                <a:avLst/>
              </a:prstGeom>
              <a:blipFill>
                <a:blip r:embed="rId2"/>
                <a:stretch>
                  <a:fillRect r="-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Left Brace 15">
            <a:extLst>
              <a:ext uri="{FF2B5EF4-FFF2-40B4-BE49-F238E27FC236}">
                <a16:creationId xmlns:a16="http://schemas.microsoft.com/office/drawing/2014/main" id="{A78CF430-BD1E-46B6-8B16-D4E712FAFB97}"/>
              </a:ext>
            </a:extLst>
          </p:cNvPr>
          <p:cNvSpPr/>
          <p:nvPr/>
        </p:nvSpPr>
        <p:spPr>
          <a:xfrm rot="16200000">
            <a:off x="794042" y="2703671"/>
            <a:ext cx="145917" cy="533400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Left Brace 16">
            <a:extLst>
              <a:ext uri="{FF2B5EF4-FFF2-40B4-BE49-F238E27FC236}">
                <a16:creationId xmlns:a16="http://schemas.microsoft.com/office/drawing/2014/main" id="{DD415599-EEDB-4986-9417-1401196E5978}"/>
              </a:ext>
            </a:extLst>
          </p:cNvPr>
          <p:cNvSpPr/>
          <p:nvPr/>
        </p:nvSpPr>
        <p:spPr>
          <a:xfrm rot="16200000">
            <a:off x="1548232" y="2591496"/>
            <a:ext cx="145917" cy="757749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Left Brace 17">
            <a:extLst>
              <a:ext uri="{FF2B5EF4-FFF2-40B4-BE49-F238E27FC236}">
                <a16:creationId xmlns:a16="http://schemas.microsoft.com/office/drawing/2014/main" id="{C8F4FDC0-0749-4AA3-AB88-75BB430E1282}"/>
              </a:ext>
            </a:extLst>
          </p:cNvPr>
          <p:cNvSpPr/>
          <p:nvPr/>
        </p:nvSpPr>
        <p:spPr>
          <a:xfrm rot="16200000">
            <a:off x="2618754" y="2448934"/>
            <a:ext cx="161878" cy="1069237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Left Brace 18">
            <a:extLst>
              <a:ext uri="{FF2B5EF4-FFF2-40B4-BE49-F238E27FC236}">
                <a16:creationId xmlns:a16="http://schemas.microsoft.com/office/drawing/2014/main" id="{915AB78E-F3ED-41C5-988D-BD82413B411C}"/>
              </a:ext>
            </a:extLst>
          </p:cNvPr>
          <p:cNvSpPr/>
          <p:nvPr/>
        </p:nvSpPr>
        <p:spPr>
          <a:xfrm rot="16200000">
            <a:off x="6016580" y="2222391"/>
            <a:ext cx="153637" cy="1503671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Left Brace 19">
            <a:extLst>
              <a:ext uri="{FF2B5EF4-FFF2-40B4-BE49-F238E27FC236}">
                <a16:creationId xmlns:a16="http://schemas.microsoft.com/office/drawing/2014/main" id="{2CDAC90B-6B09-40B5-AB0E-444A872EFF43}"/>
              </a:ext>
            </a:extLst>
          </p:cNvPr>
          <p:cNvSpPr/>
          <p:nvPr/>
        </p:nvSpPr>
        <p:spPr>
          <a:xfrm rot="16200000">
            <a:off x="7916725" y="1986875"/>
            <a:ext cx="150131" cy="1962780"/>
          </a:xfrm>
          <a:prstGeom prst="leftBrace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C014AEC-F1B6-4AE5-85C6-3FF5D0F9B2F5}"/>
              </a:ext>
            </a:extLst>
          </p:cNvPr>
          <p:cNvSpPr txBox="1"/>
          <p:nvPr/>
        </p:nvSpPr>
        <p:spPr>
          <a:xfrm>
            <a:off x="478919" y="3156506"/>
            <a:ext cx="838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dmi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st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61D631E-4906-43A0-8119-09713B6FAC5F}"/>
              </a:ext>
            </a:extLst>
          </p:cNvPr>
          <p:cNvSpPr txBox="1"/>
          <p:nvPr/>
        </p:nvSpPr>
        <p:spPr>
          <a:xfrm>
            <a:off x="1064231" y="3156506"/>
            <a:ext cx="1219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arket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st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3E615D3-788F-48B8-BB54-ACF2804AA8DE}"/>
              </a:ext>
            </a:extLst>
          </p:cNvPr>
          <p:cNvSpPr txBox="1"/>
          <p:nvPr/>
        </p:nvSpPr>
        <p:spPr>
          <a:xfrm>
            <a:off x="3947031" y="3145185"/>
            <a:ext cx="13209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mplementation cos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3BD1FEE-96EC-49A1-A282-C45AC0341455}"/>
              </a:ext>
            </a:extLst>
          </p:cNvPr>
          <p:cNvSpPr txBox="1"/>
          <p:nvPr/>
        </p:nvSpPr>
        <p:spPr>
          <a:xfrm>
            <a:off x="5536329" y="3138000"/>
            <a:ext cx="11141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centives paid to free rider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B80A0BB-9B14-42E7-88F4-1E966EDDDF49}"/>
              </a:ext>
            </a:extLst>
          </p:cNvPr>
          <p:cNvSpPr txBox="1"/>
          <p:nvPr/>
        </p:nvSpPr>
        <p:spPr>
          <a:xfrm>
            <a:off x="6937548" y="3138909"/>
            <a:ext cx="22098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easure costs incurred by non-free riders, including Market Effects, or ‘Spillover’</a:t>
            </a:r>
          </a:p>
        </p:txBody>
      </p:sp>
      <p:sp>
        <p:nvSpPr>
          <p:cNvPr id="27" name="Left Brace 26">
            <a:extLst>
              <a:ext uri="{FF2B5EF4-FFF2-40B4-BE49-F238E27FC236}">
                <a16:creationId xmlns:a16="http://schemas.microsoft.com/office/drawing/2014/main" id="{EF5AE583-0488-4DA2-901E-197FD9D84F95}"/>
              </a:ext>
            </a:extLst>
          </p:cNvPr>
          <p:cNvSpPr/>
          <p:nvPr/>
        </p:nvSpPr>
        <p:spPr>
          <a:xfrm rot="16200000">
            <a:off x="4466602" y="2480732"/>
            <a:ext cx="134596" cy="990600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81BAF1D-9AC8-4473-97D6-91291D2B066F}"/>
              </a:ext>
            </a:extLst>
          </p:cNvPr>
          <p:cNvSpPr txBox="1"/>
          <p:nvPr/>
        </p:nvSpPr>
        <p:spPr>
          <a:xfrm>
            <a:off x="1849128" y="3145185"/>
            <a:ext cx="16764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n-Resource Programs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09D261DA-0FD1-43C5-9FFF-4A3BCF57DB56}"/>
              </a:ext>
            </a:extLst>
          </p:cNvPr>
          <p:cNvSpPr txBox="1">
            <a:spLocks/>
          </p:cNvSpPr>
          <p:nvPr/>
        </p:nvSpPr>
        <p:spPr bwMode="auto">
          <a:xfrm>
            <a:off x="222737" y="1105477"/>
            <a:ext cx="8077201" cy="642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45711" numCol="1" anchor="b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99"/>
                </a:solidFill>
                <a:latin typeface="+mj-lt"/>
                <a:ea typeface="+mj-ea"/>
                <a:cs typeface="+mj-cs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99"/>
                </a:solidFill>
                <a:latin typeface="Arial" charset="0"/>
                <a:ea typeface="ＭＳ Ｐゴシック" pitchFamily="1" charset="-128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99"/>
                </a:solidFill>
                <a:latin typeface="Arial" charset="0"/>
                <a:ea typeface="ＭＳ Ｐゴシック" pitchFamily="1" charset="-128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99"/>
                </a:solidFill>
                <a:latin typeface="Arial" charset="0"/>
                <a:ea typeface="ＭＳ Ｐゴシック" pitchFamily="1" charset="-128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99"/>
                </a:solidFill>
                <a:latin typeface="Arial" charset="0"/>
                <a:ea typeface="ＭＳ Ｐゴシック" pitchFamily="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5B7893"/>
                </a:solidFill>
                <a:latin typeface="Arial" charset="0"/>
                <a:ea typeface="ＭＳ Ｐゴシック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5B7893"/>
                </a:solidFill>
                <a:latin typeface="Arial" charset="0"/>
                <a:ea typeface="ＭＳ Ｐゴシック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5B7893"/>
                </a:solidFill>
                <a:latin typeface="Arial" charset="0"/>
                <a:ea typeface="ＭＳ Ｐゴシック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5B7893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 algn="l"/>
            <a:r>
              <a:rPr lang="en-US" sz="2600" kern="0" dirty="0">
                <a:solidFill>
                  <a:schemeClr val="tx2"/>
                </a:solidFill>
              </a:rPr>
              <a:t>Algebraic formulations: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042A83A9-81D2-4DDB-B10E-BD868378B6AD}"/>
              </a:ext>
            </a:extLst>
          </p:cNvPr>
          <p:cNvSpPr txBox="1">
            <a:spLocks/>
          </p:cNvSpPr>
          <p:nvPr/>
        </p:nvSpPr>
        <p:spPr bwMode="auto">
          <a:xfrm>
            <a:off x="257230" y="5647279"/>
            <a:ext cx="8077201" cy="1058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45711" numCol="1" anchor="b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99"/>
                </a:solidFill>
                <a:latin typeface="+mj-lt"/>
                <a:ea typeface="+mj-ea"/>
                <a:cs typeface="+mj-cs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99"/>
                </a:solidFill>
                <a:latin typeface="Arial" charset="0"/>
                <a:ea typeface="ＭＳ Ｐゴシック" pitchFamily="1" charset="-128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99"/>
                </a:solidFill>
                <a:latin typeface="Arial" charset="0"/>
                <a:ea typeface="ＭＳ Ｐゴシック" pitchFamily="1" charset="-128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99"/>
                </a:solidFill>
                <a:latin typeface="Arial" charset="0"/>
                <a:ea typeface="ＭＳ Ｐゴシック" pitchFamily="1" charset="-128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99"/>
                </a:solidFill>
                <a:latin typeface="Arial" charset="0"/>
                <a:ea typeface="ＭＳ Ｐゴシック" pitchFamily="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5B7893"/>
                </a:solidFill>
                <a:latin typeface="Arial" charset="0"/>
                <a:ea typeface="ＭＳ Ｐゴシック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5B7893"/>
                </a:solidFill>
                <a:latin typeface="Arial" charset="0"/>
                <a:ea typeface="ＭＳ Ｐゴシック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5B7893"/>
                </a:solidFill>
                <a:latin typeface="Arial" charset="0"/>
                <a:ea typeface="ＭＳ Ｐゴシック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5B7893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 algn="l">
              <a:spcAft>
                <a:spcPts val="500"/>
              </a:spcAft>
            </a:pPr>
            <a:r>
              <a:rPr lang="en-US" sz="2200" kern="0" dirty="0">
                <a:solidFill>
                  <a:schemeClr val="tx2"/>
                </a:solidFill>
              </a:rPr>
              <a:t>See the Standard Practice Manual for more information:</a:t>
            </a:r>
          </a:p>
          <a:p>
            <a:pPr algn="l"/>
            <a:r>
              <a:rPr lang="en-US" sz="1100" baseline="30000" dirty="0">
                <a:solidFill>
                  <a:schemeClr val="tx2"/>
                </a:solidFill>
              </a:rPr>
              <a:t>1</a:t>
            </a:r>
            <a:r>
              <a:rPr lang="en-US" sz="1100" dirty="0">
                <a:solidFill>
                  <a:schemeClr val="tx2"/>
                </a:solidFill>
              </a:rPr>
              <a:t>http://www.cpuc.ca.gov/uploadedFiles/CPUC_Public_Website/Content/Utilities_and_Industries/Energy_-_Electricity_and_Natural_Gas/CPUC_STANDARD_PRACTICE_MANUAL.pdf</a:t>
            </a:r>
          </a:p>
        </p:txBody>
      </p:sp>
      <p:sp>
        <p:nvSpPr>
          <p:cNvPr id="32" name="Left Brace 31">
            <a:extLst>
              <a:ext uri="{FF2B5EF4-FFF2-40B4-BE49-F238E27FC236}">
                <a16:creationId xmlns:a16="http://schemas.microsoft.com/office/drawing/2014/main" id="{0C2B8D2A-223E-4131-BF8E-2EBD84F33EDE}"/>
              </a:ext>
            </a:extLst>
          </p:cNvPr>
          <p:cNvSpPr/>
          <p:nvPr/>
        </p:nvSpPr>
        <p:spPr>
          <a:xfrm rot="16200000">
            <a:off x="3553409" y="2794453"/>
            <a:ext cx="153633" cy="359549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40F2904-1617-464F-8435-38974D1A35F8}"/>
              </a:ext>
            </a:extLst>
          </p:cNvPr>
          <p:cNvSpPr txBox="1"/>
          <p:nvPr/>
        </p:nvSpPr>
        <p:spPr>
          <a:xfrm>
            <a:off x="2974897" y="3145185"/>
            <a:ext cx="13209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SP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1F497D"/>
                </a:solidFill>
                <a:latin typeface="Calibri" panose="020F0502020204030204" pitchFamily="34" charset="0"/>
              </a:rPr>
              <a:t>(shareholder</a:t>
            </a:r>
            <a:br>
              <a:rPr lang="en-US" sz="1200" dirty="0">
                <a:solidFill>
                  <a:srgbClr val="1F497D"/>
                </a:solidFill>
                <a:latin typeface="Calibri" panose="020F0502020204030204" pitchFamily="34" charset="0"/>
              </a:rPr>
            </a:br>
            <a:r>
              <a:rPr lang="en-US" sz="1200" dirty="0">
                <a:solidFill>
                  <a:srgbClr val="1F497D"/>
                </a:solidFill>
                <a:latin typeface="Calibri" panose="020F0502020204030204" pitchFamily="34" charset="0"/>
              </a:rPr>
              <a:t>incentive)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5862B806-94CE-4DF1-903A-F15E7B2BEFF1}"/>
                  </a:ext>
                </a:extLst>
              </p:cNvPr>
              <p:cNvSpPr/>
              <p:nvPr/>
            </p:nvSpPr>
            <p:spPr>
              <a:xfrm>
                <a:off x="478919" y="4210248"/>
                <a:ext cx="8153400" cy="58612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1F497D"/>
                    </a:solidFill>
                    <a:effectLst/>
                    <a:uLnTx/>
                    <a:uFillTx/>
                    <a:latin typeface="Cambria Math" panose="02040503050406030204" pitchFamily="18" charset="0"/>
                    <a:ea typeface="Cambria Math" panose="02040503050406030204" pitchFamily="18" charset="0"/>
                  </a:rPr>
                  <a:t>PAC</a:t>
                </a:r>
                <a:r>
                  <a:rPr kumimoji="0" lang="en-US" sz="1300" b="0" i="1" u="none" strike="noStrike" kern="1200" cap="none" spc="0" normalizeH="0" noProof="0" dirty="0">
                    <a:ln>
                      <a:noFill/>
                    </a:ln>
                    <a:solidFill>
                      <a:srgbClr val="1F497D"/>
                    </a:solidFill>
                    <a:effectLst/>
                    <a:uLnTx/>
                    <a:uFillTx/>
                    <a:latin typeface="Cambria Math" panose="02040503050406030204" pitchFamily="18" charset="0"/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2000" b="0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srgbClr val="1F497D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𝑁𝑃𝑉</m:t>
                        </m:r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 </m:t>
                        </m:r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𝑜𝑓</m:t>
                        </m:r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 </m:t>
                        </m:r>
                        <m:d>
                          <m:dPr>
                            <m:ctrlPr>
                              <a:rPr kumimoji="0" lang="en-US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1F497D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kumimoji="0" lang="en-US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1F497D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𝑁𝑇𝐺</m:t>
                            </m:r>
                            <m:r>
                              <a:rPr kumimoji="0" lang="en-US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1F497D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+</m:t>
                            </m:r>
                            <m:r>
                              <a:rPr kumimoji="0" lang="en-US" sz="2000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1F497D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</a:rPr>
                              <m:t>𝑀𝐸</m:t>
                            </m:r>
                          </m:e>
                        </m:d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×</m:t>
                        </m:r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𝐿𝑖𝑓𝑒𝑐𝑦𝑐𝑙𝑒</m:t>
                        </m:r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 </m:t>
                        </m:r>
                        <m:r>
                          <a:rPr kumimoji="0" lang="en-US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𝐵𝑒𝑛𝑒𝑓𝑖𝑡𝑠</m:t>
                        </m:r>
                        <m:r>
                          <a:rPr kumimoji="0" lang="en-US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 </m:t>
                        </m:r>
                        <m:r>
                          <a:rPr kumimoji="0" lang="en-US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𝑜𝑓</m:t>
                        </m:r>
                        <m:r>
                          <a:rPr kumimoji="0" lang="en-US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 </m:t>
                        </m:r>
                        <m:r>
                          <a:rPr kumimoji="0" lang="en-US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𝐴𝑣𝑜𝑖𝑑𝑒𝑑</m:t>
                        </m:r>
                        <m:r>
                          <a:rPr kumimoji="0" lang="en-US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 </m:t>
                        </m:r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𝐸𝑙𝑒𝑐𝑡𝑟𝑖𝑐𝑖𝑡𝑦</m:t>
                        </m:r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 </m:t>
                        </m:r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𝑎𝑛𝑑</m:t>
                        </m:r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 </m:t>
                        </m:r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𝐺𝑎𝑠</m:t>
                        </m:r>
                      </m:num>
                      <m:den>
                        <m:r>
                          <a:rPr kumimoji="0" lang="en-US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𝑁𝑃𝑉</m:t>
                        </m:r>
                        <m:r>
                          <a:rPr kumimoji="0" lang="en-US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 </m:t>
                        </m:r>
                        <m:r>
                          <a:rPr kumimoji="0" lang="en-US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𝑜𝑓</m:t>
                        </m:r>
                        <m:r>
                          <a:rPr kumimoji="0" lang="en-US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 </m:t>
                        </m:r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𝐴𝑑𝑚𝑖𝑛</m:t>
                        </m:r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+</m:t>
                        </m:r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𝑀𝑎𝑟𝑘𝑒𝑡𝑖𝑛𝑔</m:t>
                        </m:r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+</m:t>
                        </m:r>
                        <m:r>
                          <a:rPr kumimoji="0" lang="en-US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𝑁𝑜𝑛</m:t>
                        </m:r>
                        <m:r>
                          <a:rPr kumimoji="0" lang="en-US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kumimoji="0" lang="en-US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𝑅𝑒𝑠𝑜𝑢𝑟𝑐𝑒</m:t>
                        </m:r>
                        <m:r>
                          <a:rPr kumimoji="0" lang="en-US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kumimoji="0" lang="en-US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𝐸𝑆𝑃𝐼</m:t>
                        </m:r>
                        <m:r>
                          <a:rPr kumimoji="0" lang="en-US" sz="2000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𝐼𝑚𝑝𝑙𝑒𝑚𝑒𝑛𝑡𝑎𝑡𝑖𝑜𝑛</m:t>
                        </m:r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+</m:t>
                        </m:r>
                        <m:r>
                          <a:rPr kumimoji="0" lang="en-US" sz="2000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1F497D"/>
                            </a:solidFill>
                            <a:effectLst/>
                            <a:uLnTx/>
                            <a:uFillTx/>
                            <a:latin typeface="Cambria Math"/>
                          </a:rPr>
                          <m:t>𝐼𝑛𝑐𝑒𝑛𝑡𝑖𝑣𝑒𝑠</m:t>
                        </m:r>
                      </m:den>
                    </m:f>
                  </m:oMath>
                </a14:m>
                <a:endPara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mc:Choice>
        <mc:Fallback xmlns=""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5862B806-94CE-4DF1-903A-F15E7B2BEFF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8919" y="4210248"/>
                <a:ext cx="8153400" cy="586122"/>
              </a:xfrm>
              <a:prstGeom prst="rect">
                <a:avLst/>
              </a:prstGeom>
              <a:blipFill>
                <a:blip r:embed="rId3"/>
                <a:stretch>
                  <a:fillRect l="-15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5" name="Left Brace 34">
            <a:extLst>
              <a:ext uri="{FF2B5EF4-FFF2-40B4-BE49-F238E27FC236}">
                <a16:creationId xmlns:a16="http://schemas.microsoft.com/office/drawing/2014/main" id="{A6A1181C-418A-43C3-BDDB-6650816B001F}"/>
              </a:ext>
            </a:extLst>
          </p:cNvPr>
          <p:cNvSpPr/>
          <p:nvPr/>
        </p:nvSpPr>
        <p:spPr>
          <a:xfrm rot="16200000">
            <a:off x="2053602" y="4595051"/>
            <a:ext cx="147700" cy="558252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Left Brace 35">
            <a:extLst>
              <a:ext uri="{FF2B5EF4-FFF2-40B4-BE49-F238E27FC236}">
                <a16:creationId xmlns:a16="http://schemas.microsoft.com/office/drawing/2014/main" id="{AF577EAC-5986-4D47-8707-9207F49DA53E}"/>
              </a:ext>
            </a:extLst>
          </p:cNvPr>
          <p:cNvSpPr/>
          <p:nvPr/>
        </p:nvSpPr>
        <p:spPr>
          <a:xfrm rot="16200000">
            <a:off x="2968884" y="4374032"/>
            <a:ext cx="142506" cy="1002248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Left Brace 36">
            <a:extLst>
              <a:ext uri="{FF2B5EF4-FFF2-40B4-BE49-F238E27FC236}">
                <a16:creationId xmlns:a16="http://schemas.microsoft.com/office/drawing/2014/main" id="{3905143D-334B-4F6B-B9BE-56759C293066}"/>
              </a:ext>
            </a:extLst>
          </p:cNvPr>
          <p:cNvSpPr/>
          <p:nvPr/>
        </p:nvSpPr>
        <p:spPr>
          <a:xfrm rot="16200000">
            <a:off x="4256926" y="4254627"/>
            <a:ext cx="132732" cy="1250831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Left Brace 37">
            <a:extLst>
              <a:ext uri="{FF2B5EF4-FFF2-40B4-BE49-F238E27FC236}">
                <a16:creationId xmlns:a16="http://schemas.microsoft.com/office/drawing/2014/main" id="{E43F982A-C48F-4AF7-AA61-71B4A54E061E}"/>
              </a:ext>
            </a:extLst>
          </p:cNvPr>
          <p:cNvSpPr/>
          <p:nvPr/>
        </p:nvSpPr>
        <p:spPr>
          <a:xfrm rot="16200000">
            <a:off x="7774514" y="4431233"/>
            <a:ext cx="142312" cy="908538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5E869A8-0375-4039-A073-4F34040B3511}"/>
              </a:ext>
            </a:extLst>
          </p:cNvPr>
          <p:cNvSpPr txBox="1"/>
          <p:nvPr/>
        </p:nvSpPr>
        <p:spPr>
          <a:xfrm>
            <a:off x="1700813" y="5003020"/>
            <a:ext cx="838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dmi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st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FC24A4A-CBE6-44D8-967F-59E3CAA49053}"/>
              </a:ext>
            </a:extLst>
          </p:cNvPr>
          <p:cNvSpPr txBox="1"/>
          <p:nvPr/>
        </p:nvSpPr>
        <p:spPr>
          <a:xfrm>
            <a:off x="2452221" y="5002742"/>
            <a:ext cx="1219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arket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st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C2CC32D-C00B-4621-A796-2AAA3CEF1F78}"/>
              </a:ext>
            </a:extLst>
          </p:cNvPr>
          <p:cNvSpPr txBox="1"/>
          <p:nvPr/>
        </p:nvSpPr>
        <p:spPr>
          <a:xfrm>
            <a:off x="5816532" y="5002741"/>
            <a:ext cx="13209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mplementation cos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66792B8-4FAC-47AA-B0C3-A773E785B5B6}"/>
              </a:ext>
            </a:extLst>
          </p:cNvPr>
          <p:cNvSpPr txBox="1"/>
          <p:nvPr/>
        </p:nvSpPr>
        <p:spPr>
          <a:xfrm>
            <a:off x="7288601" y="5013269"/>
            <a:ext cx="11141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centives</a:t>
            </a:r>
          </a:p>
        </p:txBody>
      </p:sp>
      <p:sp>
        <p:nvSpPr>
          <p:cNvPr id="45" name="Left Brace 44">
            <a:extLst>
              <a:ext uri="{FF2B5EF4-FFF2-40B4-BE49-F238E27FC236}">
                <a16:creationId xmlns:a16="http://schemas.microsoft.com/office/drawing/2014/main" id="{06A96AF3-ADBD-42CE-94B0-DD90D319CC0D}"/>
              </a:ext>
            </a:extLst>
          </p:cNvPr>
          <p:cNvSpPr/>
          <p:nvPr/>
        </p:nvSpPr>
        <p:spPr>
          <a:xfrm rot="16200000">
            <a:off x="6407137" y="4121541"/>
            <a:ext cx="139724" cy="1524000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C9D3BF1-6EC2-4D0D-9547-C6F76B5A45B1}"/>
              </a:ext>
            </a:extLst>
          </p:cNvPr>
          <p:cNvSpPr txBox="1"/>
          <p:nvPr/>
        </p:nvSpPr>
        <p:spPr>
          <a:xfrm>
            <a:off x="3485091" y="4996130"/>
            <a:ext cx="16764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n-Resource Programs</a:t>
            </a:r>
          </a:p>
        </p:txBody>
      </p:sp>
      <p:sp>
        <p:nvSpPr>
          <p:cNvPr id="47" name="Left Brace 46">
            <a:extLst>
              <a:ext uri="{FF2B5EF4-FFF2-40B4-BE49-F238E27FC236}">
                <a16:creationId xmlns:a16="http://schemas.microsoft.com/office/drawing/2014/main" id="{33136DC1-B8AC-4583-9D24-A47DBBA22397}"/>
              </a:ext>
            </a:extLst>
          </p:cNvPr>
          <p:cNvSpPr/>
          <p:nvPr/>
        </p:nvSpPr>
        <p:spPr>
          <a:xfrm rot="16200000">
            <a:off x="5313753" y="4704760"/>
            <a:ext cx="137734" cy="359549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190098C-B7AF-4EEF-81DD-860DED222794}"/>
              </a:ext>
            </a:extLst>
          </p:cNvPr>
          <p:cNvSpPr txBox="1"/>
          <p:nvPr/>
        </p:nvSpPr>
        <p:spPr>
          <a:xfrm>
            <a:off x="4722153" y="4992469"/>
            <a:ext cx="13209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SP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1F497D"/>
                </a:solidFill>
                <a:latin typeface="Calibri" panose="020F0502020204030204" pitchFamily="34" charset="0"/>
              </a:rPr>
              <a:t>(shareholder</a:t>
            </a:r>
            <a:br>
              <a:rPr lang="en-US" sz="1200" dirty="0">
                <a:solidFill>
                  <a:srgbClr val="1F497D"/>
                </a:solidFill>
                <a:latin typeface="Calibri" panose="020F0502020204030204" pitchFamily="34" charset="0"/>
              </a:rPr>
            </a:br>
            <a:r>
              <a:rPr lang="en-US" sz="1200" dirty="0">
                <a:solidFill>
                  <a:srgbClr val="1F497D"/>
                </a:solidFill>
                <a:latin typeface="Calibri" panose="020F0502020204030204" pitchFamily="34" charset="0"/>
              </a:rPr>
              <a:t>incentive)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395336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AD576D9-0F78-4ABC-B30F-43A2A0EDB4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9236" y="1967254"/>
            <a:ext cx="6699650" cy="4600427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762000" y="228600"/>
            <a:ext cx="83166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1F497D"/>
                </a:solidFill>
              </a:rPr>
              <a:t>PG&amp;E’s 2017 Portfolio: TRC Sensitivity Analysi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477000" y="2142532"/>
            <a:ext cx="250890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1F497D"/>
                </a:solidFill>
                <a:latin typeface="Calibri" panose="020F0502020204030204" pitchFamily="34" charset="0"/>
              </a:rPr>
              <a:t>The portfolio TRC is most sensitive to Measure Costs and Benefits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87A95FB-3432-4EBD-ACC7-118643DA2292}"/>
              </a:ext>
            </a:extLst>
          </p:cNvPr>
          <p:cNvSpPr/>
          <p:nvPr/>
        </p:nvSpPr>
        <p:spPr bwMode="auto">
          <a:xfrm>
            <a:off x="0" y="6629399"/>
            <a:ext cx="1828800" cy="22860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33333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FDA6626-79B6-4DD3-AC15-9F5025C07E97}"/>
              </a:ext>
            </a:extLst>
          </p:cNvPr>
          <p:cNvSpPr txBox="1"/>
          <p:nvPr/>
        </p:nvSpPr>
        <p:spPr>
          <a:xfrm>
            <a:off x="197796" y="1136096"/>
            <a:ext cx="884652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1F497D"/>
                </a:solidFill>
                <a:latin typeface="Calibri" panose="020F0502020204030204" pitchFamily="34" charset="0"/>
              </a:rPr>
              <a:t>The graph below shows how a given % change in specific input(s) would impact portfolio TRC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2BD2877-0956-4863-A788-5472B33955EB}"/>
              </a:ext>
            </a:extLst>
          </p:cNvPr>
          <p:cNvSpPr txBox="1"/>
          <p:nvPr/>
        </p:nvSpPr>
        <p:spPr>
          <a:xfrm>
            <a:off x="6558898" y="5181600"/>
            <a:ext cx="22803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1F497D"/>
                </a:solidFill>
                <a:latin typeface="Calibri" panose="020F0502020204030204" pitchFamily="34" charset="0"/>
              </a:rPr>
              <a:t>Figure note: -100% eliminates an input. +100% doubles an input.</a:t>
            </a:r>
          </a:p>
        </p:txBody>
      </p:sp>
    </p:spTree>
    <p:extLst>
      <p:ext uri="{BB962C8B-B14F-4D97-AF65-F5344CB8AC3E}">
        <p14:creationId xmlns:p14="http://schemas.microsoft.com/office/powerpoint/2010/main" val="837113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62000" y="228600"/>
            <a:ext cx="83166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1F497D"/>
                </a:solidFill>
              </a:rPr>
              <a:t>PG&amp;E’s 2017 Portfolio: PAC Sensitivity Analysi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477000" y="2142532"/>
            <a:ext cx="2508902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1F497D"/>
                </a:solidFill>
                <a:latin typeface="Calibri" panose="020F0502020204030204" pitchFamily="34" charset="0"/>
              </a:rPr>
              <a:t>The portfolio PAC is most sensitive to Incentives, AMI </a:t>
            </a:r>
            <a:r>
              <a:rPr lang="en-US" sz="1600" b="1" dirty="0">
                <a:solidFill>
                  <a:srgbClr val="1F497D"/>
                </a:solidFill>
                <a:latin typeface="Calibri" panose="020F0502020204030204" pitchFamily="34" charset="0"/>
              </a:rPr>
              <a:t>(Admin, Marketing and Implementation)</a:t>
            </a:r>
            <a:r>
              <a:rPr lang="en-US" sz="2000" b="1" dirty="0">
                <a:solidFill>
                  <a:srgbClr val="1F497D"/>
                </a:solidFill>
                <a:latin typeface="Calibri" panose="020F0502020204030204" pitchFamily="34" charset="0"/>
              </a:rPr>
              <a:t>,</a:t>
            </a:r>
            <a:r>
              <a:rPr lang="en-US" sz="1600" b="1" dirty="0">
                <a:solidFill>
                  <a:srgbClr val="1F497D"/>
                </a:solidFill>
                <a:latin typeface="Calibri" panose="020F0502020204030204" pitchFamily="34" charset="0"/>
              </a:rPr>
              <a:t> </a:t>
            </a:r>
            <a:r>
              <a:rPr lang="en-US" sz="2000" b="1" dirty="0">
                <a:solidFill>
                  <a:srgbClr val="1F497D"/>
                </a:solidFill>
                <a:latin typeface="Calibri" panose="020F0502020204030204" pitchFamily="34" charset="0"/>
              </a:rPr>
              <a:t>Benefits, and NTG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87A95FB-3432-4EBD-ACC7-118643DA2292}"/>
              </a:ext>
            </a:extLst>
          </p:cNvPr>
          <p:cNvSpPr/>
          <p:nvPr/>
        </p:nvSpPr>
        <p:spPr bwMode="auto">
          <a:xfrm>
            <a:off x="0" y="6629399"/>
            <a:ext cx="1828800" cy="22860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33333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FDA6626-79B6-4DD3-AC15-9F5025C07E97}"/>
              </a:ext>
            </a:extLst>
          </p:cNvPr>
          <p:cNvSpPr txBox="1"/>
          <p:nvPr/>
        </p:nvSpPr>
        <p:spPr>
          <a:xfrm>
            <a:off x="197796" y="1136096"/>
            <a:ext cx="884652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1F497D"/>
                </a:solidFill>
                <a:latin typeface="Calibri" panose="020F0502020204030204" pitchFamily="34" charset="0"/>
              </a:rPr>
              <a:t>The graph below shows how a given % change in specific input(s) would impact portfolio PAC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BDD512D-6C15-4846-9E48-6065ABACA4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0018" y="1967752"/>
            <a:ext cx="6698202" cy="459943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C4D1AE9-CD7E-4669-A12C-121FBE1D2880}"/>
              </a:ext>
            </a:extLst>
          </p:cNvPr>
          <p:cNvSpPr txBox="1"/>
          <p:nvPr/>
        </p:nvSpPr>
        <p:spPr>
          <a:xfrm>
            <a:off x="6558898" y="5181600"/>
            <a:ext cx="22803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1F497D"/>
                </a:solidFill>
                <a:latin typeface="Calibri" panose="020F0502020204030204" pitchFamily="34" charset="0"/>
              </a:rPr>
              <a:t>Figure note: -100% eliminates an input. +100% doubles an input.</a:t>
            </a:r>
          </a:p>
        </p:txBody>
      </p:sp>
    </p:spTree>
    <p:extLst>
      <p:ext uri="{BB962C8B-B14F-4D97-AF65-F5344CB8AC3E}">
        <p14:creationId xmlns:p14="http://schemas.microsoft.com/office/powerpoint/2010/main" val="7454015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838201" y="228600"/>
            <a:ext cx="7725666" cy="5334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 dirty="0">
                <a:solidFill>
                  <a:schemeClr val="tx2"/>
                </a:solidFill>
              </a:rPr>
              <a:t>Outline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140885" y="6553200"/>
            <a:ext cx="1687915" cy="2286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333333"/>
              </a:solidFill>
              <a:effectLst/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81000" y="1203017"/>
            <a:ext cx="7183693" cy="5144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500"/>
              </a:spcAft>
            </a:pPr>
            <a:r>
              <a:rPr lang="en-US" sz="2200" b="1" dirty="0">
                <a:solidFill>
                  <a:schemeClr val="tx2"/>
                </a:solidFill>
              </a:rPr>
              <a:t>- Brief Policy Overview</a:t>
            </a:r>
          </a:p>
          <a:p>
            <a:pPr>
              <a:spcAft>
                <a:spcPts val="1500"/>
              </a:spcAft>
            </a:pPr>
            <a:r>
              <a:rPr lang="en-US" sz="2200" b="1" dirty="0">
                <a:solidFill>
                  <a:schemeClr val="tx2"/>
                </a:solidFill>
              </a:rPr>
              <a:t>- Deeper Dive into TRC</a:t>
            </a:r>
          </a:p>
          <a:p>
            <a:pPr>
              <a:spcAft>
                <a:spcPts val="1500"/>
              </a:spcAft>
            </a:pPr>
            <a:r>
              <a:rPr lang="en-US" sz="2200" b="1" dirty="0">
                <a:solidFill>
                  <a:schemeClr val="tx2"/>
                </a:solidFill>
              </a:rPr>
              <a:t>- Example: PG&amp;E’s 2017 Portfolio – TRC and PAC</a:t>
            </a:r>
          </a:p>
          <a:p>
            <a:pPr>
              <a:spcAft>
                <a:spcPts val="1500"/>
              </a:spcAft>
            </a:pPr>
            <a:r>
              <a:rPr lang="en-US" sz="2200" b="1" dirty="0">
                <a:solidFill>
                  <a:schemeClr val="tx2"/>
                </a:solidFill>
              </a:rPr>
              <a:t>- Avoided Costs – Trends and Challenges</a:t>
            </a:r>
          </a:p>
          <a:p>
            <a:pPr>
              <a:spcAft>
                <a:spcPts val="1000"/>
              </a:spcAft>
            </a:pPr>
            <a:r>
              <a:rPr lang="en-US" sz="2200" b="1" dirty="0">
                <a:solidFill>
                  <a:schemeClr val="tx2"/>
                </a:solidFill>
              </a:rPr>
              <a:t>- Challenges Between TRC and Policy Goals</a:t>
            </a:r>
          </a:p>
          <a:p>
            <a:pPr marL="685800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900" dirty="0">
                <a:solidFill>
                  <a:schemeClr val="tx2"/>
                </a:solidFill>
              </a:rPr>
              <a:t>Low Mid-Day Avoided Costs</a:t>
            </a:r>
          </a:p>
          <a:p>
            <a:pPr marL="685800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900" dirty="0">
                <a:solidFill>
                  <a:schemeClr val="tx2"/>
                </a:solidFill>
              </a:rPr>
              <a:t>Serving DAC, HTR, and Low Income Customers</a:t>
            </a:r>
          </a:p>
          <a:p>
            <a:pPr marL="685800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900" dirty="0">
                <a:solidFill>
                  <a:schemeClr val="tx2"/>
                </a:solidFill>
              </a:rPr>
              <a:t>Driving Deep Savings</a:t>
            </a:r>
          </a:p>
          <a:p>
            <a:pPr marL="685800" indent="-228600">
              <a:spcAft>
                <a:spcPts val="1500"/>
              </a:spcAft>
              <a:buFont typeface="Arial" panose="020B0604020202020204" pitchFamily="34" charset="0"/>
              <a:buChar char="•"/>
            </a:pPr>
            <a:r>
              <a:rPr lang="en-US" sz="1900" dirty="0">
                <a:solidFill>
                  <a:schemeClr val="tx2"/>
                </a:solidFill>
              </a:rPr>
              <a:t>Achieving Savings Goals</a:t>
            </a:r>
          </a:p>
          <a:p>
            <a:pPr>
              <a:spcAft>
                <a:spcPts val="1500"/>
              </a:spcAft>
            </a:pPr>
            <a:r>
              <a:rPr lang="en-US" sz="2200" b="1" dirty="0">
                <a:solidFill>
                  <a:schemeClr val="tx2"/>
                </a:solidFill>
              </a:rPr>
              <a:t>- Summary</a:t>
            </a:r>
          </a:p>
          <a:p>
            <a:pPr>
              <a:spcAft>
                <a:spcPts val="1000"/>
              </a:spcAft>
            </a:pPr>
            <a:r>
              <a:rPr lang="en-US" sz="2200" b="1" dirty="0">
                <a:solidFill>
                  <a:schemeClr val="tx2"/>
                </a:solidFill>
              </a:rPr>
              <a:t>- Q&amp;A and Discussion</a:t>
            </a:r>
          </a:p>
        </p:txBody>
      </p:sp>
    </p:spTree>
    <p:extLst>
      <p:ext uri="{BB962C8B-B14F-4D97-AF65-F5344CB8AC3E}">
        <p14:creationId xmlns:p14="http://schemas.microsoft.com/office/powerpoint/2010/main" val="31843387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1224CF1A-AEB3-4B23-AA58-970DDE2438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2541" y="3816608"/>
            <a:ext cx="5524453" cy="259689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52400"/>
            <a:ext cx="8001000" cy="609600"/>
          </a:xfrm>
        </p:spPr>
        <p:txBody>
          <a:bodyPr/>
          <a:lstStyle/>
          <a:p>
            <a:pPr algn="l"/>
            <a:r>
              <a:rPr lang="en-US" sz="2600" dirty="0">
                <a:solidFill>
                  <a:schemeClr val="tx2"/>
                </a:solidFill>
              </a:rPr>
              <a:t>$0 Avoided Costs 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152400" y="6489700"/>
            <a:ext cx="2514600" cy="3683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4ABBD15-1E98-4ECC-AB70-1963E9B435AA}"/>
              </a:ext>
            </a:extLst>
          </p:cNvPr>
          <p:cNvSpPr/>
          <p:nvPr/>
        </p:nvSpPr>
        <p:spPr>
          <a:xfrm>
            <a:off x="-28575" y="6573381"/>
            <a:ext cx="87915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Z4 shown; data from ftp://ftp.cpuc.ca.gov/gopher-data/energy_division/EnergyEfficiency/CostEffectiveness/ACC_2018_v1f.xlsb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5FE34FA-207D-4511-877B-EE708281A6EA}"/>
              </a:ext>
            </a:extLst>
          </p:cNvPr>
          <p:cNvSpPr txBox="1"/>
          <p:nvPr/>
        </p:nvSpPr>
        <p:spPr>
          <a:xfrm>
            <a:off x="152400" y="2620368"/>
            <a:ext cx="304799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tabLst/>
              <a:defRPr/>
            </a:pPr>
            <a:r>
              <a:rPr lang="en-US" sz="2200" b="1" dirty="0">
                <a:solidFill>
                  <a:srgbClr val="1F497D"/>
                </a:solidFill>
                <a:latin typeface="Calibri"/>
                <a:cs typeface="Calibri"/>
              </a:rPr>
              <a:t>Projected periods of renewable curtailment lead to cratering mid-day avoided cost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273769F-7DBC-4EBF-84EE-A8EACC51ABDA}"/>
              </a:ext>
            </a:extLst>
          </p:cNvPr>
          <p:cNvSpPr txBox="1"/>
          <p:nvPr/>
        </p:nvSpPr>
        <p:spPr>
          <a:xfrm>
            <a:off x="370362" y="1105386"/>
            <a:ext cx="8282305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tabLst/>
              <a:defRPr/>
            </a:pPr>
            <a:r>
              <a:rPr kumimoji="0" lang="en-US" sz="19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Z 4; 2019 vs 2024: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F02389A-5D84-482C-A002-D109D5CC7B42}"/>
              </a:ext>
            </a:extLst>
          </p:cNvPr>
          <p:cNvSpPr/>
          <p:nvPr/>
        </p:nvSpPr>
        <p:spPr bwMode="auto">
          <a:xfrm>
            <a:off x="3505200" y="5791200"/>
            <a:ext cx="5029200" cy="228600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333333"/>
              </a:solidFill>
              <a:effectLst/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E0937D31-B9D4-4349-BD69-9300055802F4}"/>
              </a:ext>
            </a:extLst>
          </p:cNvPr>
          <p:cNvCxnSpPr/>
          <p:nvPr/>
        </p:nvCxnSpPr>
        <p:spPr bwMode="auto">
          <a:xfrm flipV="1">
            <a:off x="1828800" y="5897513"/>
            <a:ext cx="1295400" cy="15974"/>
          </a:xfrm>
          <a:prstGeom prst="straightConnector1">
            <a:avLst/>
          </a:prstGeom>
          <a:solidFill>
            <a:srgbClr val="5B7893"/>
          </a:solidFill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5CAE856-4685-4DC3-8D63-081AB43229C0}"/>
              </a:ext>
            </a:extLst>
          </p:cNvPr>
          <p:cNvCxnSpPr>
            <a:cxnSpLocks/>
          </p:cNvCxnSpPr>
          <p:nvPr/>
        </p:nvCxnSpPr>
        <p:spPr bwMode="auto">
          <a:xfrm>
            <a:off x="1828800" y="4147304"/>
            <a:ext cx="0" cy="1766183"/>
          </a:xfrm>
          <a:prstGeom prst="line">
            <a:avLst/>
          </a:prstGeom>
          <a:solidFill>
            <a:srgbClr val="5B7893"/>
          </a:solidFill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A97957B4-B94F-46B8-BE87-9172FECF31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89001" y="1059835"/>
            <a:ext cx="5524453" cy="2596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5416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Cost Effectiveness: Backgroun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295400"/>
            <a:ext cx="8229600" cy="2743200"/>
          </a:xfrm>
        </p:spPr>
        <p:txBody>
          <a:bodyPr/>
          <a:lstStyle/>
          <a:p>
            <a:pPr marL="457200" indent="-45720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700" b="0" dirty="0">
                <a:solidFill>
                  <a:schemeClr val="tx2"/>
                </a:solidFill>
                <a:latin typeface="Calibri" panose="020F0502020204030204" pitchFamily="34" charset="0"/>
              </a:rPr>
              <a:t>California Standard Practice Manual</a:t>
            </a:r>
            <a:r>
              <a:rPr lang="en-US" sz="2700" b="0" baseline="30000" dirty="0">
                <a:solidFill>
                  <a:schemeClr val="tx2"/>
                </a:solidFill>
                <a:latin typeface="Calibri" panose="020F0502020204030204" pitchFamily="34" charset="0"/>
              </a:rPr>
              <a:t>1</a:t>
            </a:r>
            <a:r>
              <a:rPr lang="en-US" sz="2700" b="0" dirty="0">
                <a:solidFill>
                  <a:schemeClr val="tx2"/>
                </a:solidFill>
                <a:latin typeface="Calibri" panose="020F0502020204030204" pitchFamily="34" charset="0"/>
              </a:rPr>
              <a:t> defines cost effectiveness tests</a:t>
            </a:r>
          </a:p>
          <a:p>
            <a:pPr marL="457200" indent="-45720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700" b="0" dirty="0">
                <a:solidFill>
                  <a:schemeClr val="tx2"/>
                </a:solidFill>
                <a:latin typeface="Calibri" panose="020F0502020204030204" pitchFamily="34" charset="0"/>
              </a:rPr>
              <a:t>Each Test measures cost effectiveness through a different perspective</a:t>
            </a:r>
          </a:p>
          <a:p>
            <a:pPr marL="457200" indent="-457200">
              <a:spcAft>
                <a:spcPts val="8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2700" b="0" dirty="0">
                <a:solidFill>
                  <a:schemeClr val="tx2"/>
                </a:solidFill>
                <a:latin typeface="Calibri" panose="020F0502020204030204" pitchFamily="34" charset="0"/>
              </a:rPr>
              <a:t>California applies “Dual Test” for EE: TRC and PAC</a:t>
            </a:r>
          </a:p>
          <a:p>
            <a:pPr>
              <a:spcAft>
                <a:spcPts val="800"/>
              </a:spcAft>
              <a:buSzPct val="100000"/>
            </a:pPr>
            <a:endParaRPr lang="en-US" sz="2700" b="0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C2E3AC7-99C0-4254-BD75-6CF681312EC1}"/>
              </a:ext>
            </a:extLst>
          </p:cNvPr>
          <p:cNvSpPr/>
          <p:nvPr/>
        </p:nvSpPr>
        <p:spPr bwMode="auto">
          <a:xfrm>
            <a:off x="0" y="6629399"/>
            <a:ext cx="1828800" cy="22860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33333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4414" y="6477000"/>
            <a:ext cx="882012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aseline="30000" dirty="0">
                <a:solidFill>
                  <a:schemeClr val="tx2"/>
                </a:solidFill>
              </a:rPr>
              <a:t>1</a:t>
            </a:r>
            <a:r>
              <a:rPr lang="en-US" sz="1000" dirty="0">
                <a:solidFill>
                  <a:schemeClr val="tx2"/>
                </a:solidFill>
              </a:rPr>
              <a:t>http://www.cpuc.ca.gov/uploadedFiles/CPUC_Public_Website/Content/Utilities_and_Industries/Energy_-_Electricity_and_Natural_Gas/CPUC_STANDARD_PRACTICE_MANUAL.pdf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6E73CB0-7AE2-40E2-9022-C2AF9F555F0D}"/>
              </a:ext>
            </a:extLst>
          </p:cNvPr>
          <p:cNvSpPr txBox="1">
            <a:spLocks/>
          </p:cNvSpPr>
          <p:nvPr/>
        </p:nvSpPr>
        <p:spPr bwMode="auto">
          <a:xfrm>
            <a:off x="853541" y="140494"/>
            <a:ext cx="8001000" cy="642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45711" numCol="1" anchor="b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99"/>
                </a:solidFill>
                <a:latin typeface="+mj-lt"/>
                <a:ea typeface="+mj-ea"/>
                <a:cs typeface="+mj-cs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99"/>
                </a:solidFill>
                <a:latin typeface="Arial" charset="0"/>
                <a:ea typeface="ＭＳ Ｐゴシック" pitchFamily="1" charset="-128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99"/>
                </a:solidFill>
                <a:latin typeface="Arial" charset="0"/>
                <a:ea typeface="ＭＳ Ｐゴシック" pitchFamily="1" charset="-128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99"/>
                </a:solidFill>
                <a:latin typeface="Arial" charset="0"/>
                <a:ea typeface="ＭＳ Ｐゴシック" pitchFamily="1" charset="-128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6699"/>
                </a:solidFill>
                <a:latin typeface="Arial" charset="0"/>
                <a:ea typeface="ＭＳ Ｐゴシック" pitchFamily="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5B7893"/>
                </a:solidFill>
                <a:latin typeface="Arial" charset="0"/>
                <a:ea typeface="ＭＳ Ｐゴシック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5B7893"/>
                </a:solidFill>
                <a:latin typeface="Arial" charset="0"/>
                <a:ea typeface="ＭＳ Ｐゴシック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5B7893"/>
                </a:solidFill>
                <a:latin typeface="Arial" charset="0"/>
                <a:ea typeface="ＭＳ Ｐゴシック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5B7893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 algn="l"/>
            <a:r>
              <a:rPr lang="en-US" sz="2600" kern="0" dirty="0">
                <a:solidFill>
                  <a:schemeClr val="tx2"/>
                </a:solidFill>
              </a:rPr>
              <a:t>Cost Effectiveness – Brief Regulatory Background</a:t>
            </a:r>
          </a:p>
        </p:txBody>
      </p:sp>
      <p:pic>
        <p:nvPicPr>
          <p:cNvPr id="11" name="Picture 10" descr="Screen Clipping">
            <a:extLst>
              <a:ext uri="{FF2B5EF4-FFF2-40B4-BE49-F238E27FC236}">
                <a16:creationId xmlns:a16="http://schemas.microsoft.com/office/drawing/2014/main" id="{0CBD5640-DDF3-4D56-998E-D1AACFF260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230" y="3886200"/>
            <a:ext cx="8745170" cy="2429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1026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762000" y="228600"/>
            <a:ext cx="583845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TRC: What Does it Measure?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124200" y="3195935"/>
            <a:ext cx="46150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00" b="1" i="0" u="sng" strike="noStrike" kern="1200" cap="none" spc="0" normalizeH="0" baseline="0" noProof="0" dirty="0">
                <a:ln>
                  <a:noFill/>
                </a:ln>
                <a:solidFill>
                  <a:srgbClr val="CC0000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RC: Important Drivers</a:t>
            </a:r>
          </a:p>
        </p:txBody>
      </p:sp>
      <p:sp>
        <p:nvSpPr>
          <p:cNvPr id="33" name="Rectangle 32"/>
          <p:cNvSpPr/>
          <p:nvPr/>
        </p:nvSpPr>
        <p:spPr bwMode="auto">
          <a:xfrm>
            <a:off x="178984" y="6602968"/>
            <a:ext cx="1764115" cy="2286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BA22D2E-AAEE-4657-BEF1-455B3A901A31}"/>
              </a:ext>
            </a:extLst>
          </p:cNvPr>
          <p:cNvSpPr txBox="1"/>
          <p:nvPr/>
        </p:nvSpPr>
        <p:spPr>
          <a:xfrm>
            <a:off x="5230922" y="3742546"/>
            <a:ext cx="3836878" cy="2277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00"/>
              </a:spcAft>
            </a:pPr>
            <a:r>
              <a:rPr lang="en-US" sz="2200" b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	Costs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457200" indent="-45720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dmin, Marketing, Implementation, EM&amp;V, SW ME&amp;O</a:t>
            </a:r>
          </a:p>
          <a:p>
            <a:pPr marL="457200" indent="-45720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2200" b="1" dirty="0">
                <a:solidFill>
                  <a:srgbClr val="1F497D"/>
                </a:solidFill>
                <a:latin typeface="Calibri" panose="020F0502020204030204" pitchFamily="34" charset="0"/>
              </a:rPr>
              <a:t>Measure Cost (IMC or FMC)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centive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B05D23C-500A-40C0-8EA9-D799CCBCB21B}"/>
              </a:ext>
            </a:extLst>
          </p:cNvPr>
          <p:cNvSpPr txBox="1"/>
          <p:nvPr/>
        </p:nvSpPr>
        <p:spPr>
          <a:xfrm>
            <a:off x="228600" y="3735150"/>
            <a:ext cx="4836568" cy="27443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enefits (</a:t>
            </a:r>
            <a:r>
              <a:rPr lang="en-US" sz="2200" b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i.e.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Avoided Costs)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ifecycle Net Savings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→ Gross Savings, NTG, EUL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200" b="1" dirty="0">
                <a:solidFill>
                  <a:srgbClr val="1F497D"/>
                </a:solidFill>
                <a:latin typeface="Calibri" panose="020F0502020204030204" pitchFamily="34" charset="0"/>
              </a:rPr>
              <a:t>Energy and Associated Prices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200" b="1" dirty="0">
                <a:solidFill>
                  <a:srgbClr val="1F497D"/>
                </a:solidFill>
                <a:latin typeface="Calibri" panose="020F0502020204030204" pitchFamily="34" charset="0"/>
              </a:rPr>
              <a:t>Savings Load Shapes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200" b="1" dirty="0">
                <a:solidFill>
                  <a:srgbClr val="1F497D"/>
                </a:solidFill>
                <a:latin typeface="Calibri" panose="020F0502020204030204" pitchFamily="34" charset="0"/>
              </a:rPr>
              <a:t>GHG Cap-and-Trade Cost and Adder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200" b="1" dirty="0">
                <a:solidFill>
                  <a:srgbClr val="1F497D"/>
                </a:solidFill>
                <a:latin typeface="Calibri" panose="020F0502020204030204" pitchFamily="34" charset="0"/>
              </a:rPr>
              <a:t>Discount Rat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FD517A1-87BF-4D37-9AF8-46DC04A07584}"/>
              </a:ext>
            </a:extLst>
          </p:cNvPr>
          <p:cNvSpPr txBox="1"/>
          <p:nvPr/>
        </p:nvSpPr>
        <p:spPr>
          <a:xfrm>
            <a:off x="3581400" y="6400800"/>
            <a:ext cx="5410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rticipant benefits (bill savings) not included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F57EF3E-0931-42CF-847E-B50192BE1570}"/>
              </a:ext>
            </a:extLst>
          </p:cNvPr>
          <p:cNvSpPr txBox="1"/>
          <p:nvPr/>
        </p:nvSpPr>
        <p:spPr>
          <a:xfrm>
            <a:off x="19516" y="1063571"/>
            <a:ext cx="85376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TRC gauges value for the utility and its customers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3377C9D5-AA32-4D38-86D7-76F1021E8022}"/>
              </a:ext>
            </a:extLst>
          </p:cNvPr>
          <p:cNvSpPr/>
          <p:nvPr/>
        </p:nvSpPr>
        <p:spPr>
          <a:xfrm>
            <a:off x="171472" y="3093473"/>
            <a:ext cx="239005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tx2"/>
                </a:solidFill>
              </a:rPr>
              <a:t>*Both the numerator and denominator of the TRC are NPV calculation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D6E195A-4FB4-462A-9367-9440B3375584}"/>
              </a:ext>
            </a:extLst>
          </p:cNvPr>
          <p:cNvGrpSpPr/>
          <p:nvPr/>
        </p:nvGrpSpPr>
        <p:grpSpPr>
          <a:xfrm>
            <a:off x="328819" y="1676400"/>
            <a:ext cx="8053181" cy="1077426"/>
            <a:chOff x="228601" y="1828800"/>
            <a:chExt cx="8053181" cy="1077426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C88867BD-DF80-40E9-8633-E72FA8864523}"/>
                </a:ext>
              </a:extLst>
            </p:cNvPr>
            <p:cNvSpPr txBox="1"/>
            <p:nvPr/>
          </p:nvSpPr>
          <p:spPr>
            <a:xfrm>
              <a:off x="990601" y="2267364"/>
              <a:ext cx="854766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dmin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B038900-D68C-41BC-AA2F-092BA1DED09B}"/>
                </a:ext>
              </a:extLst>
            </p:cNvPr>
            <p:cNvSpPr txBox="1"/>
            <p:nvPr/>
          </p:nvSpPr>
          <p:spPr>
            <a:xfrm>
              <a:off x="1771575" y="2267364"/>
              <a:ext cx="12432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Marketing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856634AE-821F-4C38-AD9B-354EFB19ED3D}"/>
                </a:ext>
              </a:extLst>
            </p:cNvPr>
            <p:cNvSpPr txBox="1"/>
            <p:nvPr/>
          </p:nvSpPr>
          <p:spPr>
            <a:xfrm>
              <a:off x="2938669" y="2267364"/>
              <a:ext cx="170953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Implementation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76BA5D11-0C42-4E6A-B8A6-2A7C5CD94162}"/>
                </a:ext>
              </a:extLst>
            </p:cNvPr>
            <p:cNvSpPr txBox="1"/>
            <p:nvPr/>
          </p:nvSpPr>
          <p:spPr>
            <a:xfrm>
              <a:off x="4648201" y="2244091"/>
              <a:ext cx="129070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Incentives to free riders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03EDADD-3B85-40DF-B7FE-4154A4721DAF}"/>
                </a:ext>
              </a:extLst>
            </p:cNvPr>
            <p:cNvSpPr txBox="1"/>
            <p:nvPr/>
          </p:nvSpPr>
          <p:spPr>
            <a:xfrm>
              <a:off x="6096002" y="2244091"/>
              <a:ext cx="218578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Measure costs incurred by non-free riders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AB73131-10C3-4E09-95B9-B284B94D4C4A}"/>
                </a:ext>
              </a:extLst>
            </p:cNvPr>
            <p:cNvSpPr txBox="1"/>
            <p:nvPr/>
          </p:nvSpPr>
          <p:spPr>
            <a:xfrm>
              <a:off x="4288321" y="2243062"/>
              <a:ext cx="657363" cy="3847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+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F6469B6-C151-4FF4-B6DC-676733A62853}"/>
                </a:ext>
              </a:extLst>
            </p:cNvPr>
            <p:cNvSpPr txBox="1"/>
            <p:nvPr/>
          </p:nvSpPr>
          <p:spPr>
            <a:xfrm>
              <a:off x="2667001" y="2244091"/>
              <a:ext cx="657363" cy="3847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+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F51F7C5C-9246-4691-AE5A-7247807EEEED}"/>
                </a:ext>
              </a:extLst>
            </p:cNvPr>
            <p:cNvSpPr txBox="1"/>
            <p:nvPr/>
          </p:nvSpPr>
          <p:spPr>
            <a:xfrm>
              <a:off x="1476238" y="2243062"/>
              <a:ext cx="657363" cy="3847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+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0D191BF-75D0-42FC-BCFC-2539B1BE324F}"/>
                </a:ext>
              </a:extLst>
            </p:cNvPr>
            <p:cNvSpPr txBox="1"/>
            <p:nvPr/>
          </p:nvSpPr>
          <p:spPr>
            <a:xfrm>
              <a:off x="5667237" y="2236353"/>
              <a:ext cx="657363" cy="3847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+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FDB05DB5-180D-445F-82F7-EEA0E693C323}"/>
                </a:ext>
              </a:extLst>
            </p:cNvPr>
            <p:cNvSpPr txBox="1"/>
            <p:nvPr/>
          </p:nvSpPr>
          <p:spPr>
            <a:xfrm>
              <a:off x="228601" y="2016638"/>
              <a:ext cx="85476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TRC* ≈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D2051E90-E192-4B90-AB3A-3A496EC1D5B0}"/>
                </a:ext>
              </a:extLst>
            </p:cNvPr>
            <p:cNvSpPr txBox="1"/>
            <p:nvPr/>
          </p:nvSpPr>
          <p:spPr>
            <a:xfrm>
              <a:off x="2675662" y="1828800"/>
              <a:ext cx="41823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voided Costs from Electricity and Gas Savings</a:t>
              </a:r>
            </a:p>
          </p:txBody>
        </p:sp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B2D0A7BF-C50D-40D6-A451-12FBF1B76BDA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1066801" y="2167354"/>
              <a:ext cx="7214981" cy="42580"/>
            </a:xfrm>
            <a:prstGeom prst="line">
              <a:avLst/>
            </a:prstGeom>
            <a:solidFill>
              <a:srgbClr val="5B7893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31568C2B-4ED1-414B-8F10-71539FF83A28}"/>
                </a:ext>
              </a:extLst>
            </p:cNvPr>
            <p:cNvSpPr txBox="1"/>
            <p:nvPr/>
          </p:nvSpPr>
          <p:spPr>
            <a:xfrm>
              <a:off x="1219474" y="2547988"/>
              <a:ext cx="12432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EM&amp;V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7920DC25-CF45-4541-A573-2D3D8B96DCD6}"/>
                </a:ext>
              </a:extLst>
            </p:cNvPr>
            <p:cNvSpPr txBox="1"/>
            <p:nvPr/>
          </p:nvSpPr>
          <p:spPr>
            <a:xfrm>
              <a:off x="2102519" y="2538396"/>
              <a:ext cx="170953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Non-Resource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37CF1E50-AC07-4560-9252-9198016F0C69}"/>
                </a:ext>
              </a:extLst>
            </p:cNvPr>
            <p:cNvSpPr txBox="1"/>
            <p:nvPr/>
          </p:nvSpPr>
          <p:spPr>
            <a:xfrm>
              <a:off x="1904165" y="2520379"/>
              <a:ext cx="657363" cy="3847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+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7943AADF-D2E6-40F3-AE2F-737D5C200AA0}"/>
                </a:ext>
              </a:extLst>
            </p:cNvPr>
            <p:cNvSpPr txBox="1"/>
            <p:nvPr/>
          </p:nvSpPr>
          <p:spPr>
            <a:xfrm>
              <a:off x="1099213" y="2521505"/>
              <a:ext cx="657363" cy="3847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+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FD5FC342-D454-4A1D-8CD2-B8E3B7BB9F5D}"/>
                </a:ext>
              </a:extLst>
            </p:cNvPr>
            <p:cNvSpPr txBox="1"/>
            <p:nvPr/>
          </p:nvSpPr>
          <p:spPr>
            <a:xfrm>
              <a:off x="3087411" y="2538439"/>
              <a:ext cx="170953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ESPI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62E8EDD4-C83D-4906-855A-8164F548CD2A}"/>
                </a:ext>
              </a:extLst>
            </p:cNvPr>
            <p:cNvSpPr txBox="1"/>
            <p:nvPr/>
          </p:nvSpPr>
          <p:spPr>
            <a:xfrm>
              <a:off x="3330444" y="2519491"/>
              <a:ext cx="657363" cy="3847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+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147067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auto">
          <a:xfrm>
            <a:off x="152400" y="6503692"/>
            <a:ext cx="2459494" cy="35430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19062"/>
            <a:ext cx="8077201" cy="642938"/>
          </a:xfrm>
        </p:spPr>
        <p:txBody>
          <a:bodyPr/>
          <a:lstStyle/>
          <a:p>
            <a:pPr algn="l"/>
            <a:r>
              <a:rPr lang="en-US" sz="2600" dirty="0">
                <a:solidFill>
                  <a:schemeClr val="tx2"/>
                </a:solidFill>
              </a:rPr>
              <a:t>PG&amp;E 2017 Portfolio: TRC Input Breakdow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EC41643-0F32-43E3-9BF0-C57AF6A92FFF}"/>
              </a:ext>
            </a:extLst>
          </p:cNvPr>
          <p:cNvSpPr txBox="1"/>
          <p:nvPr/>
        </p:nvSpPr>
        <p:spPr>
          <a:xfrm>
            <a:off x="260684" y="1141210"/>
            <a:ext cx="726655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17 PG&amp;E portfolio TRC = 0.88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(Excluding Codes and Standards)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1572CAB-59BF-4758-9497-1EBFAC7795B4}"/>
              </a:ext>
            </a:extLst>
          </p:cNvPr>
          <p:cNvSpPr txBox="1"/>
          <p:nvPr/>
        </p:nvSpPr>
        <p:spPr>
          <a:xfrm>
            <a:off x="152400" y="6248520"/>
            <a:ext cx="836194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easure Costs accounted for </a:t>
            </a:r>
            <a:r>
              <a:rPr lang="en-US" sz="2200" b="1" dirty="0">
                <a:solidFill>
                  <a:srgbClr val="1F497D"/>
                </a:solidFill>
                <a:latin typeface="Calibri"/>
                <a:cs typeface="Calibri"/>
              </a:rPr>
              <a:t>60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% of PG&amp;E’s 2017 portfolio TRC cost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F73FBB-486C-417C-A673-5997C3AA80C0}"/>
              </a:ext>
            </a:extLst>
          </p:cNvPr>
          <p:cNvSpPr txBox="1"/>
          <p:nvPr/>
        </p:nvSpPr>
        <p:spPr>
          <a:xfrm>
            <a:off x="6934200" y="1752600"/>
            <a:ext cx="2209800" cy="41703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sng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otes on Figure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Tx/>
              <a:buSzTx/>
              <a:buFontTx/>
              <a:buNone/>
              <a:tabLst/>
              <a:defRPr/>
            </a:pPr>
            <a:r>
              <a:rPr lang="en-US" sz="1500" b="1" dirty="0">
                <a:solidFill>
                  <a:srgbClr val="1F497D"/>
                </a:solidFill>
                <a:latin typeface="Calibri"/>
                <a:cs typeface="Calibri"/>
              </a:rPr>
              <a:t>Non-Resource = WE&amp;T, SW ME&amp;O, IDSM, Strategic Energy Resources, and Financ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Tx/>
              <a:buSzTx/>
              <a:buFontTx/>
              <a:buNone/>
              <a:tabLst/>
              <a:defRPr/>
            </a:pPr>
            <a:r>
              <a:rPr lang="en-US" sz="1500" b="1" dirty="0">
                <a:solidFill>
                  <a:srgbClr val="1F497D"/>
                </a:solidFill>
                <a:latin typeface="Calibri"/>
                <a:cs typeface="Calibri"/>
              </a:rPr>
              <a:t>Admin, Marketing, and Implementation include resource program costs only to avoid duplicative counting with these fields in the non-resource program budget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lang="en-US" sz="1500" b="1" dirty="0">
                <a:solidFill>
                  <a:srgbClr val="1F497D"/>
                </a:solidFill>
                <a:latin typeface="Calibri"/>
                <a:cs typeface="Calibri"/>
              </a:rPr>
              <a:t>PG&amp;E’s 2017 ESPI was $0 due to 2006 – 2008 program cycle reimbursemen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A22E030-E150-494E-ABA2-D20313A459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1583" y="1752600"/>
            <a:ext cx="6588085" cy="427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511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auto">
          <a:xfrm>
            <a:off x="152400" y="6503692"/>
            <a:ext cx="2459494" cy="35430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19062"/>
            <a:ext cx="8077201" cy="642938"/>
          </a:xfrm>
        </p:spPr>
        <p:txBody>
          <a:bodyPr/>
          <a:lstStyle/>
          <a:p>
            <a:pPr algn="l"/>
            <a:r>
              <a:rPr lang="en-US" sz="2600" dirty="0">
                <a:solidFill>
                  <a:schemeClr val="tx2"/>
                </a:solidFill>
              </a:rPr>
              <a:t>PG&amp;E 2017 Portfolio: PAC Input Breakdow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EC41643-0F32-43E3-9BF0-C57AF6A92FFF}"/>
              </a:ext>
            </a:extLst>
          </p:cNvPr>
          <p:cNvSpPr txBox="1"/>
          <p:nvPr/>
        </p:nvSpPr>
        <p:spPr>
          <a:xfrm>
            <a:off x="260684" y="1141210"/>
            <a:ext cx="726655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17 PG&amp;E portfolio PAC = </a:t>
            </a:r>
            <a:r>
              <a:rPr lang="en-US" sz="2200" b="1" dirty="0">
                <a:solidFill>
                  <a:srgbClr val="1F497D"/>
                </a:solidFill>
                <a:latin typeface="Calibri"/>
                <a:cs typeface="Calibri"/>
              </a:rPr>
              <a:t>1.57 </a:t>
            </a:r>
            <a:r>
              <a:rPr lang="en-US" sz="1600" b="1" dirty="0">
                <a:solidFill>
                  <a:srgbClr val="1F497D"/>
                </a:solidFill>
                <a:latin typeface="Calibri"/>
                <a:cs typeface="Calibri"/>
              </a:rPr>
              <a:t>(Excluding Codes and Standards)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1572CAB-59BF-4758-9497-1EBFAC7795B4}"/>
              </a:ext>
            </a:extLst>
          </p:cNvPr>
          <p:cNvSpPr txBox="1"/>
          <p:nvPr/>
        </p:nvSpPr>
        <p:spPr>
          <a:xfrm>
            <a:off x="152400" y="6020471"/>
            <a:ext cx="836194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b="1" dirty="0">
                <a:solidFill>
                  <a:srgbClr val="1F497D"/>
                </a:solidFill>
                <a:latin typeface="Calibri"/>
                <a:cs typeface="Calibri"/>
              </a:rPr>
              <a:t>Absence of Measure Costs and use of full Incentive spend are the major differences between the PAC and TRC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F73FBB-486C-417C-A673-5997C3AA80C0}"/>
              </a:ext>
            </a:extLst>
          </p:cNvPr>
          <p:cNvSpPr txBox="1"/>
          <p:nvPr/>
        </p:nvSpPr>
        <p:spPr>
          <a:xfrm>
            <a:off x="6934200" y="1752600"/>
            <a:ext cx="2209800" cy="41703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sng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otes on Figure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Tx/>
              <a:buSzTx/>
              <a:buFontTx/>
              <a:buNone/>
              <a:tabLst/>
              <a:defRPr/>
            </a:pPr>
            <a:r>
              <a:rPr lang="en-US" sz="1500" b="1" dirty="0">
                <a:solidFill>
                  <a:srgbClr val="1F497D"/>
                </a:solidFill>
                <a:latin typeface="Calibri"/>
                <a:cs typeface="Calibri"/>
              </a:rPr>
              <a:t>Non-Resource = WE&amp;T, SW ME&amp;O, IDSM, Strategic Energy Resources, and Financ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ClrTx/>
              <a:buSzTx/>
              <a:buFontTx/>
              <a:buNone/>
              <a:tabLst/>
              <a:defRPr/>
            </a:pPr>
            <a:r>
              <a:rPr lang="en-US" sz="1500" b="1" dirty="0">
                <a:solidFill>
                  <a:srgbClr val="1F497D"/>
                </a:solidFill>
                <a:latin typeface="Calibri"/>
                <a:cs typeface="Calibri"/>
              </a:rPr>
              <a:t>Admin, Marketing, and Implementation include resource program costs only to avoid duplicative counting with these fields in the non-resource program budget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lang="en-US" sz="1500" b="1" dirty="0">
                <a:solidFill>
                  <a:srgbClr val="1F497D"/>
                </a:solidFill>
                <a:latin typeface="Calibri"/>
                <a:cs typeface="Calibri"/>
              </a:rPr>
              <a:t>PG&amp;E’s 2017 ESPI was $0 due to 2006 – 2008 program cycle reimbursemen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47D0259-32D1-40AA-9F15-E6CBB8BFD3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855" y="1752600"/>
            <a:ext cx="6596148" cy="427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0343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52400"/>
            <a:ext cx="8001000" cy="609600"/>
          </a:xfrm>
        </p:spPr>
        <p:txBody>
          <a:bodyPr/>
          <a:lstStyle/>
          <a:p>
            <a:pPr algn="l"/>
            <a:r>
              <a:rPr lang="en-US" sz="2600" dirty="0">
                <a:solidFill>
                  <a:schemeClr val="tx2"/>
                </a:solidFill>
              </a:rPr>
              <a:t>Avoided Cost Trends: Natural Gas Prices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152400" y="6489700"/>
            <a:ext cx="2514600" cy="3683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5FE34FA-207D-4511-877B-EE708281A6EA}"/>
              </a:ext>
            </a:extLst>
          </p:cNvPr>
          <p:cNvSpPr txBox="1"/>
          <p:nvPr/>
        </p:nvSpPr>
        <p:spPr>
          <a:xfrm>
            <a:off x="247650" y="1822653"/>
            <a:ext cx="226695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tabLst/>
              <a:defRPr/>
            </a:pPr>
            <a:r>
              <a:rPr lang="en-US" sz="2000" b="1" dirty="0">
                <a:solidFill>
                  <a:srgbClr val="1F497D"/>
                </a:solidFill>
                <a:latin typeface="Calibri"/>
                <a:cs typeface="Calibri"/>
              </a:rPr>
              <a:t>Natural gas prices have fallen consistently since 2005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BEC1A49-AA35-4D3D-A79C-1DD6902A2BF9}"/>
              </a:ext>
            </a:extLst>
          </p:cNvPr>
          <p:cNvSpPr txBox="1"/>
          <p:nvPr/>
        </p:nvSpPr>
        <p:spPr>
          <a:xfrm>
            <a:off x="200025" y="3553361"/>
            <a:ext cx="241935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tabLst/>
              <a:defRPr/>
            </a:pPr>
            <a:r>
              <a:rPr lang="en-US" sz="2000" b="1" dirty="0">
                <a:solidFill>
                  <a:srgbClr val="1F497D"/>
                </a:solidFill>
                <a:latin typeface="Calibri"/>
                <a:cs typeface="Calibri"/>
              </a:rPr>
              <a:t>Gas costs are forecasted to increase over the next two decades.</a:t>
            </a:r>
            <a:r>
              <a:rPr lang="en-US" sz="2000" b="1" baseline="30000" dirty="0">
                <a:solidFill>
                  <a:srgbClr val="1F497D"/>
                </a:solidFill>
                <a:latin typeface="Calibri"/>
                <a:cs typeface="Calibri"/>
              </a:rPr>
              <a:t>1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481F8D2-C797-454E-B170-F2238B72AAC2}"/>
              </a:ext>
            </a:extLst>
          </p:cNvPr>
          <p:cNvSpPr/>
          <p:nvPr/>
        </p:nvSpPr>
        <p:spPr>
          <a:xfrm>
            <a:off x="2971800" y="5392579"/>
            <a:ext cx="408038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tx2"/>
                </a:solidFill>
              </a:rPr>
              <a:t>https://www.macrotrends.net/2478/natural-gas-prices-historical-char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3681FED-740B-4A9D-8823-9AFB427430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0030" y="1658779"/>
            <a:ext cx="5942906" cy="367894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9CFF3C6-B3AD-4AA0-968F-2998D55337AC}"/>
              </a:ext>
            </a:extLst>
          </p:cNvPr>
          <p:cNvSpPr/>
          <p:nvPr/>
        </p:nvSpPr>
        <p:spPr>
          <a:xfrm>
            <a:off x="28575" y="6535579"/>
            <a:ext cx="882012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aseline="30000" dirty="0">
                <a:solidFill>
                  <a:schemeClr val="tx2"/>
                </a:solidFill>
              </a:rPr>
              <a:t>1</a:t>
            </a:r>
            <a:r>
              <a:rPr lang="en-US" sz="1000" i="1" dirty="0">
                <a:solidFill>
                  <a:schemeClr val="tx2"/>
                </a:solidFill>
              </a:rPr>
              <a:t>Avoided Costs 2017 Interim Update</a:t>
            </a:r>
            <a:r>
              <a:rPr lang="en-US" sz="1000" dirty="0">
                <a:solidFill>
                  <a:schemeClr val="tx2"/>
                </a:solidFill>
              </a:rPr>
              <a:t>, Energy and Environmental Economics, Inc. 2017. </a:t>
            </a:r>
            <a:r>
              <a:rPr lang="en-US" sz="1000" i="1" dirty="0">
                <a:solidFill>
                  <a:schemeClr val="tx2"/>
                </a:solidFill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6BCD528-B4F5-484D-B2BE-75673132FCF9}"/>
              </a:ext>
            </a:extLst>
          </p:cNvPr>
          <p:cNvSpPr txBox="1"/>
          <p:nvPr/>
        </p:nvSpPr>
        <p:spPr>
          <a:xfrm>
            <a:off x="150724" y="5715000"/>
            <a:ext cx="83074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tabLst/>
              <a:defRPr/>
            </a:pPr>
            <a:r>
              <a:rPr lang="en-US" sz="2000" b="1" dirty="0">
                <a:solidFill>
                  <a:srgbClr val="1F497D"/>
                </a:solidFill>
                <a:latin typeface="Calibri"/>
                <a:cs typeface="Calibri"/>
              </a:rPr>
              <a:t>Other factors such as losses and transmission costs, and avoided GHG are included in the natural gas avoided costs.</a:t>
            </a:r>
            <a:endParaRPr lang="en-US" sz="2000" b="1" baseline="30000" dirty="0">
              <a:solidFill>
                <a:srgbClr val="1F497D"/>
              </a:solidFill>
              <a:latin typeface="Calibri"/>
              <a:cs typeface="Calibri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4993D47-A3C9-4DC8-A595-CD9A7CA794B9}"/>
              </a:ext>
            </a:extLst>
          </p:cNvPr>
          <p:cNvSpPr txBox="1"/>
          <p:nvPr/>
        </p:nvSpPr>
        <p:spPr>
          <a:xfrm>
            <a:off x="276225" y="1016913"/>
            <a:ext cx="86391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tabLst/>
              <a:defRPr/>
            </a:pPr>
            <a:r>
              <a:rPr lang="en-US" sz="2200" b="1" dirty="0">
                <a:solidFill>
                  <a:srgbClr val="1F497D"/>
                </a:solidFill>
                <a:latin typeface="Calibri"/>
                <a:cs typeface="Calibri"/>
              </a:rPr>
              <a:t>Low natural gas prices limit TRC and PAC avoided costs.</a:t>
            </a:r>
          </a:p>
        </p:txBody>
      </p:sp>
    </p:spTree>
    <p:extLst>
      <p:ext uri="{BB962C8B-B14F-4D97-AF65-F5344CB8AC3E}">
        <p14:creationId xmlns:p14="http://schemas.microsoft.com/office/powerpoint/2010/main" val="41176534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F2FEE26-9618-49ED-B4E3-C238DAE3D96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33269"/>
          <a:stretch/>
        </p:blipFill>
        <p:spPr>
          <a:xfrm>
            <a:off x="183329" y="1266226"/>
            <a:ext cx="4193987" cy="330577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14737"/>
            <a:ext cx="8001000" cy="609600"/>
          </a:xfrm>
        </p:spPr>
        <p:txBody>
          <a:bodyPr/>
          <a:lstStyle/>
          <a:p>
            <a:pPr algn="l"/>
            <a:r>
              <a:rPr lang="en-US" sz="2600" dirty="0">
                <a:solidFill>
                  <a:schemeClr val="tx2"/>
                </a:solidFill>
              </a:rPr>
              <a:t>Components of Electric Avoided Costs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152400" y="6489700"/>
            <a:ext cx="2514600" cy="3683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A61050D-C699-476F-B708-6EC67C368E3C}"/>
              </a:ext>
            </a:extLst>
          </p:cNvPr>
          <p:cNvSpPr txBox="1"/>
          <p:nvPr/>
        </p:nvSpPr>
        <p:spPr>
          <a:xfrm>
            <a:off x="2115259" y="986135"/>
            <a:ext cx="10851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19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4ABBD15-1E98-4ECC-AB70-1963E9B435AA}"/>
              </a:ext>
            </a:extLst>
          </p:cNvPr>
          <p:cNvSpPr/>
          <p:nvPr/>
        </p:nvSpPr>
        <p:spPr>
          <a:xfrm>
            <a:off x="-28575" y="6573381"/>
            <a:ext cx="87915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Z4 shown; ftp://ftp.cpuc.ca.gov/gopher-data/energy_division/EnergyEfficiency/CostEffectiveness/ACC_2018_v1f.xlsb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479DA2B-33D2-4514-8E30-88015B18C15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4253"/>
          <a:stretch/>
        </p:blipFill>
        <p:spPr>
          <a:xfrm>
            <a:off x="4724400" y="1266225"/>
            <a:ext cx="4132132" cy="330577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09E7657-F7C5-41D9-A40C-24F77D9D348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6686" t="52175" r="1506" b="16446"/>
          <a:stretch/>
        </p:blipFill>
        <p:spPr>
          <a:xfrm>
            <a:off x="0" y="4790982"/>
            <a:ext cx="2870060" cy="1525827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4D7A00FA-586F-4AF7-8AF4-C71B6A28F0DF}"/>
              </a:ext>
            </a:extLst>
          </p:cNvPr>
          <p:cNvSpPr txBox="1"/>
          <p:nvPr/>
        </p:nvSpPr>
        <p:spPr>
          <a:xfrm>
            <a:off x="4419600" y="4800600"/>
            <a:ext cx="472440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High capacity and T&amp;D costs during summer peak hours drive high evening avoided costs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6C14F65-B126-43CE-A5AC-0E5E0DA41D2F}"/>
              </a:ext>
            </a:extLst>
          </p:cNvPr>
          <p:cNvSpPr txBox="1"/>
          <p:nvPr/>
        </p:nvSpPr>
        <p:spPr>
          <a:xfrm>
            <a:off x="4419600" y="5924490"/>
            <a:ext cx="44958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id-day savings decreasing in valu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0BA2663-6224-4281-AAC5-8F88E2CDD3E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0688" t="26209" r="12503" b="45321"/>
          <a:stretch/>
        </p:blipFill>
        <p:spPr>
          <a:xfrm>
            <a:off x="2699861" y="4864100"/>
            <a:ext cx="1516711" cy="13843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BB6C50F4-AF2A-457A-8E2C-7C48D029BB10}"/>
              </a:ext>
            </a:extLst>
          </p:cNvPr>
          <p:cNvSpPr txBox="1"/>
          <p:nvPr/>
        </p:nvSpPr>
        <p:spPr>
          <a:xfrm>
            <a:off x="6705600" y="986135"/>
            <a:ext cx="10851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24</a:t>
            </a:r>
          </a:p>
        </p:txBody>
      </p:sp>
    </p:spTree>
    <p:extLst>
      <p:ext uri="{BB962C8B-B14F-4D97-AF65-F5344CB8AC3E}">
        <p14:creationId xmlns:p14="http://schemas.microsoft.com/office/powerpoint/2010/main" val="37367663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52400"/>
            <a:ext cx="8001000" cy="609600"/>
          </a:xfrm>
        </p:spPr>
        <p:txBody>
          <a:bodyPr/>
          <a:lstStyle/>
          <a:p>
            <a:pPr algn="l"/>
            <a:r>
              <a:rPr lang="en-US" sz="2600" dirty="0">
                <a:solidFill>
                  <a:schemeClr val="tx2"/>
                </a:solidFill>
              </a:rPr>
              <a:t>Electric Avoided Costs: Important Trends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152400" y="6489700"/>
            <a:ext cx="2514600" cy="3683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4ABBD15-1E98-4ECC-AB70-1963E9B435AA}"/>
              </a:ext>
            </a:extLst>
          </p:cNvPr>
          <p:cNvSpPr/>
          <p:nvPr/>
        </p:nvSpPr>
        <p:spPr>
          <a:xfrm>
            <a:off x="-28575" y="6573381"/>
            <a:ext cx="87915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Z4 shown; data from ftp://ftp.cpuc.ca.gov/gopher-data/energy_division/EnergyEfficiency/CostEffectiveness/ACC_2018_v1f.xlsb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5FE34FA-207D-4511-877B-EE708281A6EA}"/>
              </a:ext>
            </a:extLst>
          </p:cNvPr>
          <p:cNvSpPr txBox="1"/>
          <p:nvPr/>
        </p:nvSpPr>
        <p:spPr>
          <a:xfrm>
            <a:off x="152400" y="5465723"/>
            <a:ext cx="8686800" cy="10874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srgbClr val="1F497D"/>
                </a:solidFill>
                <a:latin typeface="Calibri"/>
                <a:cs typeface="Calibri"/>
              </a:rPr>
              <a:t>In 2019, 9% of hours have $0 Avoided Cost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 2024, 25% of hours have $0 Avoided Costs, 61% from 7 am - 4 pm.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(Current DEER Peak Hours are 2 – 5 pm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273769F-7DBC-4EBF-84EE-A8EACC51ABDA}"/>
              </a:ext>
            </a:extLst>
          </p:cNvPr>
          <p:cNvSpPr txBox="1"/>
          <p:nvPr/>
        </p:nvSpPr>
        <p:spPr>
          <a:xfrm>
            <a:off x="226059" y="946894"/>
            <a:ext cx="828230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tabLst/>
              <a:defRPr/>
            </a:pPr>
            <a:r>
              <a:rPr lang="en-US" sz="2200" b="1" dirty="0">
                <a:solidFill>
                  <a:srgbClr val="1F497D"/>
                </a:solidFill>
                <a:latin typeface="Calibri"/>
                <a:cs typeface="Calibri"/>
              </a:rPr>
              <a:t>Hourly $0 avoided costs are driving down mid-day benefits.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58FB688-7F01-4B87-B25F-7E4D2C57AE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400" y="1469136"/>
            <a:ext cx="7352415" cy="3941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05455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PG&amp;E Template">
  <a:themeElements>
    <a:clrScheme name="PRTM for PG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6699"/>
      </a:accent1>
      <a:accent2>
        <a:srgbClr val="FF9900"/>
      </a:accent2>
      <a:accent3>
        <a:srgbClr val="339966"/>
      </a:accent3>
      <a:accent4>
        <a:srgbClr val="CC0000"/>
      </a:accent4>
      <a:accent5>
        <a:srgbClr val="4BACC6"/>
      </a:accent5>
      <a:accent6>
        <a:srgbClr val="E75C00"/>
      </a:accent6>
      <a:hlink>
        <a:srgbClr val="003366"/>
      </a:hlink>
      <a:folHlink>
        <a:srgbClr val="99003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5B7893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rgbClr val="333333"/>
            </a:solidFill>
            <a:effectLst/>
            <a:latin typeface="Arial" charset="0"/>
            <a:ea typeface="Arial Unicode MS" pitchFamily="34" charset="-128"/>
            <a:cs typeface="Arial Unicode MS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5B7893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rgbClr val="333333"/>
            </a:solidFill>
            <a:effectLst/>
            <a:latin typeface="Arial" charset="0"/>
            <a:ea typeface="Arial Unicode MS" pitchFamily="34" charset="-128"/>
            <a:cs typeface="Arial Unicode MS" pitchFamily="34" charset="-128"/>
          </a:defRPr>
        </a:defPPr>
      </a:lstStyle>
    </a:lnDef>
  </a:objectDefaults>
  <a:extraClrSchemeLst>
    <a:extraClrScheme>
      <a:clrScheme name="WW_RPT_template 1">
        <a:dk1>
          <a:srgbClr val="333333"/>
        </a:dk1>
        <a:lt1>
          <a:srgbClr val="FFFFFF"/>
        </a:lt1>
        <a:dk2>
          <a:srgbClr val="5B7893"/>
        </a:dk2>
        <a:lt2>
          <a:srgbClr val="CCCCCC"/>
        </a:lt2>
        <a:accent1>
          <a:srgbClr val="ADBBC9"/>
        </a:accent1>
        <a:accent2>
          <a:srgbClr val="CC6600"/>
        </a:accent2>
        <a:accent3>
          <a:srgbClr val="FFFFFF"/>
        </a:accent3>
        <a:accent4>
          <a:srgbClr val="2A2A2A"/>
        </a:accent4>
        <a:accent5>
          <a:srgbClr val="D3DAE1"/>
        </a:accent5>
        <a:accent6>
          <a:srgbClr val="B95C00"/>
        </a:accent6>
        <a:hlink>
          <a:srgbClr val="CC3300"/>
        </a:hlink>
        <a:folHlink>
          <a:srgbClr val="F1D1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PG&amp;E Presentation Template">
  <a:themeElements>
    <a:clrScheme name="PG&amp;E Presentation Template 1">
      <a:dk1>
        <a:srgbClr val="0082AA"/>
      </a:dk1>
      <a:lt1>
        <a:srgbClr val="FFFFFF"/>
      </a:lt1>
      <a:dk2>
        <a:srgbClr val="FFA100"/>
      </a:dk2>
      <a:lt2>
        <a:srgbClr val="00A7C2"/>
      </a:lt2>
      <a:accent1>
        <a:srgbClr val="005C78"/>
      </a:accent1>
      <a:accent2>
        <a:srgbClr val="70A489"/>
      </a:accent2>
      <a:accent3>
        <a:srgbClr val="FFFFFF"/>
      </a:accent3>
      <a:accent4>
        <a:srgbClr val="006E91"/>
      </a:accent4>
      <a:accent5>
        <a:srgbClr val="AAB5BE"/>
      </a:accent5>
      <a:accent6>
        <a:srgbClr val="65947C"/>
      </a:accent6>
      <a:hlink>
        <a:srgbClr val="A3A86B"/>
      </a:hlink>
      <a:folHlink>
        <a:srgbClr val="CAB575"/>
      </a:folHlink>
    </a:clrScheme>
    <a:fontScheme name="PG&amp;E Presentation Template">
      <a:majorFont>
        <a:latin typeface="Arial"/>
        <a:ea typeface="ヒラギノ角ゴ Pro W3"/>
        <a:cs typeface=""/>
      </a:majorFont>
      <a:minorFont>
        <a:latin typeface="Arial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>
          <a:solidFill>
            <a:schemeClr val="tx1"/>
          </a:solidFill>
        </a:ln>
        <a:effectLst/>
        <a:extLst/>
      </a:spPr>
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ct val="30000"/>
          </a:spcBef>
          <a:spcAft>
            <a:spcPct val="1500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effectLst/>
            <a:latin typeface="Arial" charset="0"/>
            <a:ea typeface="ヒラギノ角ゴ Pro W3" charset="-128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BBBBBB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PG&amp;E Presentation Template 1">
        <a:dk1>
          <a:srgbClr val="0082AA"/>
        </a:dk1>
        <a:lt1>
          <a:srgbClr val="FFFFFF"/>
        </a:lt1>
        <a:dk2>
          <a:srgbClr val="FFA100"/>
        </a:dk2>
        <a:lt2>
          <a:srgbClr val="00A7C2"/>
        </a:lt2>
        <a:accent1>
          <a:srgbClr val="005C78"/>
        </a:accent1>
        <a:accent2>
          <a:srgbClr val="70A489"/>
        </a:accent2>
        <a:accent3>
          <a:srgbClr val="FFFFFF"/>
        </a:accent3>
        <a:accent4>
          <a:srgbClr val="006E91"/>
        </a:accent4>
        <a:accent5>
          <a:srgbClr val="AAB5BE"/>
        </a:accent5>
        <a:accent6>
          <a:srgbClr val="65947C"/>
        </a:accent6>
        <a:hlink>
          <a:srgbClr val="A3A86B"/>
        </a:hlink>
        <a:folHlink>
          <a:srgbClr val="CAB57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G&amp;E Presentation Template 2">
        <a:dk1>
          <a:srgbClr val="0082AA"/>
        </a:dk1>
        <a:lt1>
          <a:srgbClr val="FFFFFF"/>
        </a:lt1>
        <a:dk2>
          <a:srgbClr val="FFA100"/>
        </a:dk2>
        <a:lt2>
          <a:srgbClr val="00A7C2"/>
        </a:lt2>
        <a:accent1>
          <a:srgbClr val="004960"/>
        </a:accent1>
        <a:accent2>
          <a:srgbClr val="70A489"/>
        </a:accent2>
        <a:accent3>
          <a:srgbClr val="FFFFFF"/>
        </a:accent3>
        <a:accent4>
          <a:srgbClr val="006E91"/>
        </a:accent4>
        <a:accent5>
          <a:srgbClr val="AAB1B6"/>
        </a:accent5>
        <a:accent6>
          <a:srgbClr val="65947C"/>
        </a:accent6>
        <a:hlink>
          <a:srgbClr val="A3A86B"/>
        </a:hlink>
        <a:folHlink>
          <a:srgbClr val="CAB57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PG&amp;E Template">
  <a:themeElements>
    <a:clrScheme name="PRTM for PG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6699"/>
      </a:accent1>
      <a:accent2>
        <a:srgbClr val="FF9900"/>
      </a:accent2>
      <a:accent3>
        <a:srgbClr val="339966"/>
      </a:accent3>
      <a:accent4>
        <a:srgbClr val="CC0000"/>
      </a:accent4>
      <a:accent5>
        <a:srgbClr val="4BACC6"/>
      </a:accent5>
      <a:accent6>
        <a:srgbClr val="E75C00"/>
      </a:accent6>
      <a:hlink>
        <a:srgbClr val="003366"/>
      </a:hlink>
      <a:folHlink>
        <a:srgbClr val="99003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5B7893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rgbClr val="333333"/>
            </a:solidFill>
            <a:effectLst/>
            <a:latin typeface="Arial" charset="0"/>
            <a:ea typeface="Arial Unicode MS" pitchFamily="34" charset="-128"/>
            <a:cs typeface="Arial Unicode MS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5B7893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rgbClr val="333333"/>
            </a:solidFill>
            <a:effectLst/>
            <a:latin typeface="Arial" charset="0"/>
            <a:ea typeface="Arial Unicode MS" pitchFamily="34" charset="-128"/>
            <a:cs typeface="Arial Unicode MS" pitchFamily="34" charset="-128"/>
          </a:defRPr>
        </a:defPPr>
      </a:lstStyle>
    </a:lnDef>
  </a:objectDefaults>
  <a:extraClrSchemeLst>
    <a:extraClrScheme>
      <a:clrScheme name="WW_RPT_template 1">
        <a:dk1>
          <a:srgbClr val="333333"/>
        </a:dk1>
        <a:lt1>
          <a:srgbClr val="FFFFFF"/>
        </a:lt1>
        <a:dk2>
          <a:srgbClr val="5B7893"/>
        </a:dk2>
        <a:lt2>
          <a:srgbClr val="CCCCCC"/>
        </a:lt2>
        <a:accent1>
          <a:srgbClr val="ADBBC9"/>
        </a:accent1>
        <a:accent2>
          <a:srgbClr val="CC6600"/>
        </a:accent2>
        <a:accent3>
          <a:srgbClr val="FFFFFF"/>
        </a:accent3>
        <a:accent4>
          <a:srgbClr val="2A2A2A"/>
        </a:accent4>
        <a:accent5>
          <a:srgbClr val="D3DAE1"/>
        </a:accent5>
        <a:accent6>
          <a:srgbClr val="B95C00"/>
        </a:accent6>
        <a:hlink>
          <a:srgbClr val="CC3300"/>
        </a:hlink>
        <a:folHlink>
          <a:srgbClr val="F1D1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PG&amp;E Template">
  <a:themeElements>
    <a:clrScheme name="PRTM for PG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6699"/>
      </a:accent1>
      <a:accent2>
        <a:srgbClr val="FF9900"/>
      </a:accent2>
      <a:accent3>
        <a:srgbClr val="339966"/>
      </a:accent3>
      <a:accent4>
        <a:srgbClr val="CC0000"/>
      </a:accent4>
      <a:accent5>
        <a:srgbClr val="4BACC6"/>
      </a:accent5>
      <a:accent6>
        <a:srgbClr val="E75C00"/>
      </a:accent6>
      <a:hlink>
        <a:srgbClr val="003366"/>
      </a:hlink>
      <a:folHlink>
        <a:srgbClr val="99003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5B7893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rgbClr val="333333"/>
            </a:solidFill>
            <a:effectLst/>
            <a:latin typeface="Arial" charset="0"/>
            <a:ea typeface="Arial Unicode MS" pitchFamily="34" charset="-128"/>
            <a:cs typeface="Arial Unicode MS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5B7893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rgbClr val="333333"/>
            </a:solidFill>
            <a:effectLst/>
            <a:latin typeface="Arial" charset="0"/>
            <a:ea typeface="Arial Unicode MS" pitchFamily="34" charset="-128"/>
            <a:cs typeface="Arial Unicode MS" pitchFamily="34" charset="-128"/>
          </a:defRPr>
        </a:defPPr>
      </a:lstStyle>
    </a:lnDef>
  </a:objectDefaults>
  <a:extraClrSchemeLst>
    <a:extraClrScheme>
      <a:clrScheme name="WW_RPT_template 1">
        <a:dk1>
          <a:srgbClr val="333333"/>
        </a:dk1>
        <a:lt1>
          <a:srgbClr val="FFFFFF"/>
        </a:lt1>
        <a:dk2>
          <a:srgbClr val="5B7893"/>
        </a:dk2>
        <a:lt2>
          <a:srgbClr val="CCCCCC"/>
        </a:lt2>
        <a:accent1>
          <a:srgbClr val="ADBBC9"/>
        </a:accent1>
        <a:accent2>
          <a:srgbClr val="CC6600"/>
        </a:accent2>
        <a:accent3>
          <a:srgbClr val="FFFFFF"/>
        </a:accent3>
        <a:accent4>
          <a:srgbClr val="2A2A2A"/>
        </a:accent4>
        <a:accent5>
          <a:srgbClr val="D3DAE1"/>
        </a:accent5>
        <a:accent6>
          <a:srgbClr val="B95C00"/>
        </a:accent6>
        <a:hlink>
          <a:srgbClr val="CC3300"/>
        </a:hlink>
        <a:folHlink>
          <a:srgbClr val="F1D1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PG&amp;E Template">
  <a:themeElements>
    <a:clrScheme name="PRTM for PG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6699"/>
      </a:accent1>
      <a:accent2>
        <a:srgbClr val="FF9900"/>
      </a:accent2>
      <a:accent3>
        <a:srgbClr val="339966"/>
      </a:accent3>
      <a:accent4>
        <a:srgbClr val="CC0000"/>
      </a:accent4>
      <a:accent5>
        <a:srgbClr val="4BACC6"/>
      </a:accent5>
      <a:accent6>
        <a:srgbClr val="E75C00"/>
      </a:accent6>
      <a:hlink>
        <a:srgbClr val="003366"/>
      </a:hlink>
      <a:folHlink>
        <a:srgbClr val="99003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5B7893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rgbClr val="333333"/>
            </a:solidFill>
            <a:effectLst/>
            <a:latin typeface="Arial" charset="0"/>
            <a:ea typeface="Arial Unicode MS" pitchFamily="34" charset="-128"/>
            <a:cs typeface="Arial Unicode MS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5B7893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rgbClr val="333333"/>
            </a:solidFill>
            <a:effectLst/>
            <a:latin typeface="Arial" charset="0"/>
            <a:ea typeface="Arial Unicode MS" pitchFamily="34" charset="-128"/>
            <a:cs typeface="Arial Unicode MS" pitchFamily="34" charset="-128"/>
          </a:defRPr>
        </a:defPPr>
      </a:lstStyle>
    </a:lnDef>
  </a:objectDefaults>
  <a:extraClrSchemeLst>
    <a:extraClrScheme>
      <a:clrScheme name="WW_RPT_template 1">
        <a:dk1>
          <a:srgbClr val="333333"/>
        </a:dk1>
        <a:lt1>
          <a:srgbClr val="FFFFFF"/>
        </a:lt1>
        <a:dk2>
          <a:srgbClr val="5B7893"/>
        </a:dk2>
        <a:lt2>
          <a:srgbClr val="CCCCCC"/>
        </a:lt2>
        <a:accent1>
          <a:srgbClr val="ADBBC9"/>
        </a:accent1>
        <a:accent2>
          <a:srgbClr val="CC6600"/>
        </a:accent2>
        <a:accent3>
          <a:srgbClr val="FFFFFF"/>
        </a:accent3>
        <a:accent4>
          <a:srgbClr val="2A2A2A"/>
        </a:accent4>
        <a:accent5>
          <a:srgbClr val="D3DAE1"/>
        </a:accent5>
        <a:accent6>
          <a:srgbClr val="B95C00"/>
        </a:accent6>
        <a:hlink>
          <a:srgbClr val="CC3300"/>
        </a:hlink>
        <a:folHlink>
          <a:srgbClr val="F1D1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309</TotalTime>
  <Words>1518</Words>
  <Application>Microsoft Office PowerPoint</Application>
  <PresentationFormat>On-screen Show (4:3)</PresentationFormat>
  <Paragraphs>184</Paragraphs>
  <Slides>20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4" baseType="lpstr">
      <vt:lpstr>Arial Unicode MS</vt:lpstr>
      <vt:lpstr>ＭＳ Ｐゴシック</vt:lpstr>
      <vt:lpstr>Arial</vt:lpstr>
      <vt:lpstr>Calibri</vt:lpstr>
      <vt:lpstr>Cambria Math</vt:lpstr>
      <vt:lpstr>Symbol</vt:lpstr>
      <vt:lpstr>Times New Roman</vt:lpstr>
      <vt:lpstr>ヒラギノ角ゴ Pro W3</vt:lpstr>
      <vt:lpstr>2_PG&amp;E Template</vt:lpstr>
      <vt:lpstr>PG&amp;E Presentation Template</vt:lpstr>
      <vt:lpstr>1_PG&amp;E Template</vt:lpstr>
      <vt:lpstr>3_PG&amp;E Template</vt:lpstr>
      <vt:lpstr>4_PG&amp;E Template</vt:lpstr>
      <vt:lpstr>think-cell Slide</vt:lpstr>
      <vt:lpstr>Cost Effectiveness in EE</vt:lpstr>
      <vt:lpstr>PowerPoint Presentation</vt:lpstr>
      <vt:lpstr>Cost Effectiveness: Background</vt:lpstr>
      <vt:lpstr>PowerPoint Presentation</vt:lpstr>
      <vt:lpstr>PG&amp;E 2017 Portfolio: TRC Input Breakdown</vt:lpstr>
      <vt:lpstr>PG&amp;E 2017 Portfolio: PAC Input Breakdown</vt:lpstr>
      <vt:lpstr>Avoided Cost Trends: Natural Gas Prices</vt:lpstr>
      <vt:lpstr>Components of Electric Avoided Costs</vt:lpstr>
      <vt:lpstr>Electric Avoided Costs: Important Trends</vt:lpstr>
      <vt:lpstr>PowerPoint Presentation</vt:lpstr>
      <vt:lpstr>PowerPoint Presentation</vt:lpstr>
      <vt:lpstr>PowerPoint Presentation</vt:lpstr>
      <vt:lpstr>PowerPoint Presentation</vt:lpstr>
      <vt:lpstr>Q&amp;A and Discussion</vt:lpstr>
      <vt:lpstr>Appendix</vt:lpstr>
      <vt:lpstr>PowerPoint Presentation</vt:lpstr>
      <vt:lpstr>The TRC and PAC</vt:lpstr>
      <vt:lpstr>PowerPoint Presentation</vt:lpstr>
      <vt:lpstr>PowerPoint Presentation</vt:lpstr>
      <vt:lpstr>$0 Avoided Costs </vt:lpstr>
    </vt:vector>
  </TitlesOfParts>
  <Company>Pacific Gas and Electri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st Effectiveness: Background</dc:title>
  <dc:creator>Adam Scheer</dc:creator>
  <cp:lastModifiedBy>Scheer, Adam</cp:lastModifiedBy>
  <cp:revision>94</cp:revision>
  <dcterms:created xsi:type="dcterms:W3CDTF">2018-04-17T20:28:55Z</dcterms:created>
  <dcterms:modified xsi:type="dcterms:W3CDTF">2018-07-31T05:34:22Z</dcterms:modified>
</cp:coreProperties>
</file>